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146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7F7F7F"/>
    <a:srgbClr val="61C9E8"/>
    <a:srgbClr val="0007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una Mikati" userId="fbdfa09a-cab8-4e18-928e-bc783e3c1810" providerId="ADAL" clId="{D9DDEA39-F7D7-43B1-B398-0FBB65510E03}"/>
    <pc:docChg chg="undo custSel modSld">
      <pc:chgData name="Mouna Mikati" userId="fbdfa09a-cab8-4e18-928e-bc783e3c1810" providerId="ADAL" clId="{D9DDEA39-F7D7-43B1-B398-0FBB65510E03}" dt="2023-09-22T18:20:12.361" v="49" actId="1038"/>
      <pc:docMkLst>
        <pc:docMk/>
      </pc:docMkLst>
      <pc:sldChg chg="modSp mod">
        <pc:chgData name="Mouna Mikati" userId="fbdfa09a-cab8-4e18-928e-bc783e3c1810" providerId="ADAL" clId="{D9DDEA39-F7D7-43B1-B398-0FBB65510E03}" dt="2023-09-22T18:20:12.361" v="49" actId="1038"/>
        <pc:sldMkLst>
          <pc:docMk/>
          <pc:sldMk cId="2376327690" sldId="1468"/>
        </pc:sldMkLst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50" creationId="{4D21B89A-2334-BC5A-4551-A34430CD595A}"/>
          </ac:spMkLst>
        </pc:spChg>
        <pc:spChg chg="mod">
          <ac:chgData name="Mouna Mikati" userId="fbdfa09a-cab8-4e18-928e-bc783e3c1810" providerId="ADAL" clId="{D9DDEA39-F7D7-43B1-B398-0FBB65510E03}" dt="2023-09-22T17:45:54.562" v="12" actId="2711"/>
          <ac:spMkLst>
            <pc:docMk/>
            <pc:sldMk cId="2376327690" sldId="1468"/>
            <ac:spMk id="70" creationId="{BAC57257-E96C-8701-D367-2ED03C34E70C}"/>
          </ac:spMkLst>
        </pc:spChg>
        <pc:spChg chg="mod">
          <ac:chgData name="Mouna Mikati" userId="fbdfa09a-cab8-4e18-928e-bc783e3c1810" providerId="ADAL" clId="{D9DDEA39-F7D7-43B1-B398-0FBB65510E03}" dt="2023-09-22T17:45:54.562" v="12" actId="2711"/>
          <ac:spMkLst>
            <pc:docMk/>
            <pc:sldMk cId="2376327690" sldId="1468"/>
            <ac:spMk id="71" creationId="{B4C8EAE5-F97F-FE6F-4165-22BCBC1647A0}"/>
          </ac:spMkLst>
        </pc:spChg>
        <pc:spChg chg="mod">
          <ac:chgData name="Mouna Mikati" userId="fbdfa09a-cab8-4e18-928e-bc783e3c1810" providerId="ADAL" clId="{D9DDEA39-F7D7-43B1-B398-0FBB65510E03}" dt="2023-09-22T17:45:54.562" v="12" actId="2711"/>
          <ac:spMkLst>
            <pc:docMk/>
            <pc:sldMk cId="2376327690" sldId="1468"/>
            <ac:spMk id="72" creationId="{CC30DC60-FF83-6600-83DC-F964A38A4FB3}"/>
          </ac:spMkLst>
        </pc:spChg>
        <pc:spChg chg="mod">
          <ac:chgData name="Mouna Mikati" userId="fbdfa09a-cab8-4e18-928e-bc783e3c1810" providerId="ADAL" clId="{D9DDEA39-F7D7-43B1-B398-0FBB65510E03}" dt="2023-09-22T17:45:30.302" v="6" actId="403"/>
          <ac:spMkLst>
            <pc:docMk/>
            <pc:sldMk cId="2376327690" sldId="1468"/>
            <ac:spMk id="73" creationId="{19F913CC-DFF0-7568-C7F1-4E14B0405D7B}"/>
          </ac:spMkLst>
        </pc:spChg>
        <pc:spChg chg="mod">
          <ac:chgData name="Mouna Mikati" userId="fbdfa09a-cab8-4e18-928e-bc783e3c1810" providerId="ADAL" clId="{D9DDEA39-F7D7-43B1-B398-0FBB65510E03}" dt="2023-09-22T17:45:30.302" v="6" actId="403"/>
          <ac:spMkLst>
            <pc:docMk/>
            <pc:sldMk cId="2376327690" sldId="1468"/>
            <ac:spMk id="74" creationId="{600DEFD4-6444-6642-09E0-A0D4C110E435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78" creationId="{D9B7D60E-023D-E4E4-68CB-4C9B9C215CB0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79" creationId="{A77C71AE-0DCE-5503-2F75-F314E4E0F5AB}"/>
          </ac:spMkLst>
        </pc:spChg>
        <pc:spChg chg="mod">
          <ac:chgData name="Mouna Mikati" userId="fbdfa09a-cab8-4e18-928e-bc783e3c1810" providerId="ADAL" clId="{D9DDEA39-F7D7-43B1-B398-0FBB65510E03}" dt="2023-09-22T17:46:13.277" v="14" actId="2711"/>
          <ac:spMkLst>
            <pc:docMk/>
            <pc:sldMk cId="2376327690" sldId="1468"/>
            <ac:spMk id="224" creationId="{90CD2EBA-6DEA-23C5-D822-0D6DB8AD167B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226" creationId="{58353AD9-3B2F-FB56-0010-D03F6D416EAB}"/>
          </ac:spMkLst>
        </pc:spChg>
        <pc:spChg chg="mod">
          <ac:chgData name="Mouna Mikati" userId="fbdfa09a-cab8-4e18-928e-bc783e3c1810" providerId="ADAL" clId="{D9DDEA39-F7D7-43B1-B398-0FBB65510E03}" dt="2023-09-22T17:47:24.443" v="26" actId="1076"/>
          <ac:spMkLst>
            <pc:docMk/>
            <pc:sldMk cId="2376327690" sldId="1468"/>
            <ac:spMk id="232" creationId="{67F74954-AD15-E140-B3AD-F3701B0B44ED}"/>
          </ac:spMkLst>
        </pc:spChg>
        <pc:spChg chg="mod">
          <ac:chgData name="Mouna Mikati" userId="fbdfa09a-cab8-4e18-928e-bc783e3c1810" providerId="ADAL" clId="{D9DDEA39-F7D7-43B1-B398-0FBB65510E03}" dt="2023-09-22T17:48:18.414" v="44" actId="1035"/>
          <ac:spMkLst>
            <pc:docMk/>
            <pc:sldMk cId="2376327690" sldId="1468"/>
            <ac:spMk id="233" creationId="{32C3C70D-8158-5B33-F85D-6FF7C3D8A1AF}"/>
          </ac:spMkLst>
        </pc:spChg>
        <pc:spChg chg="mod">
          <ac:chgData name="Mouna Mikati" userId="fbdfa09a-cab8-4e18-928e-bc783e3c1810" providerId="ADAL" clId="{D9DDEA39-F7D7-43B1-B398-0FBB65510E03}" dt="2023-09-22T17:48:11.677" v="43" actId="1038"/>
          <ac:spMkLst>
            <pc:docMk/>
            <pc:sldMk cId="2376327690" sldId="1468"/>
            <ac:spMk id="238" creationId="{6A96D82C-63A9-B2EC-AB5C-62534DBEA83B}"/>
          </ac:spMkLst>
        </pc:spChg>
        <pc:spChg chg="mod">
          <ac:chgData name="Mouna Mikati" userId="fbdfa09a-cab8-4e18-928e-bc783e3c1810" providerId="ADAL" clId="{D9DDEA39-F7D7-43B1-B398-0FBB65510E03}" dt="2023-09-22T17:46:13.277" v="14" actId="2711"/>
          <ac:spMkLst>
            <pc:docMk/>
            <pc:sldMk cId="2376327690" sldId="1468"/>
            <ac:spMk id="240" creationId="{E824325C-F23B-74D6-9732-D8EDF0F6E236}"/>
          </ac:spMkLst>
        </pc:spChg>
        <pc:spChg chg="mod">
          <ac:chgData name="Mouna Mikati" userId="fbdfa09a-cab8-4e18-928e-bc783e3c1810" providerId="ADAL" clId="{D9DDEA39-F7D7-43B1-B398-0FBB65510E03}" dt="2023-09-22T17:48:21.154" v="45" actId="1035"/>
          <ac:spMkLst>
            <pc:docMk/>
            <pc:sldMk cId="2376327690" sldId="1468"/>
            <ac:spMk id="1123" creationId="{F1499004-6273-C1C2-ECD3-E0859A7E91F7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1124" creationId="{7DC86FFC-0ED7-7475-B3B6-31BBCF7096A4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1127" creationId="{3884246D-222B-EE87-15E2-CDEF3BEABBC8}"/>
          </ac:spMkLst>
        </pc:spChg>
        <pc:spChg chg="mod">
          <ac:chgData name="Mouna Mikati" userId="fbdfa09a-cab8-4e18-928e-bc783e3c1810" providerId="ADAL" clId="{D9DDEA39-F7D7-43B1-B398-0FBB65510E03}" dt="2023-09-22T17:46:13.277" v="14" actId="2711"/>
          <ac:spMkLst>
            <pc:docMk/>
            <pc:sldMk cId="2376327690" sldId="1468"/>
            <ac:spMk id="1134" creationId="{08400AC7-52F4-9FDE-F230-85F34EDB920A}"/>
          </ac:spMkLst>
        </pc:spChg>
        <pc:spChg chg="mod">
          <ac:chgData name="Mouna Mikati" userId="fbdfa09a-cab8-4e18-928e-bc783e3c1810" providerId="ADAL" clId="{D9DDEA39-F7D7-43B1-B398-0FBB65510E03}" dt="2023-09-22T17:46:13.277" v="14" actId="2711"/>
          <ac:spMkLst>
            <pc:docMk/>
            <pc:sldMk cId="2376327690" sldId="1468"/>
            <ac:spMk id="1140" creationId="{1D9D1D69-2D01-3D7F-D70A-1308C10D071D}"/>
          </ac:spMkLst>
        </pc:spChg>
        <pc:spChg chg="mod">
          <ac:chgData name="Mouna Mikati" userId="fbdfa09a-cab8-4e18-928e-bc783e3c1810" providerId="ADAL" clId="{D9DDEA39-F7D7-43B1-B398-0FBB65510E03}" dt="2023-09-22T17:46:13.277" v="14" actId="2711"/>
          <ac:spMkLst>
            <pc:docMk/>
            <pc:sldMk cId="2376327690" sldId="1468"/>
            <ac:spMk id="1143" creationId="{71669B6D-E802-F038-AAB0-90A5E14C980D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1146" creationId="{F44A4D31-35BF-2F76-EAE3-4B6AA4308861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1152" creationId="{DF50B7D7-21FE-4011-B6F4-A9B0931474BE}"/>
          </ac:spMkLst>
        </pc:spChg>
        <pc:spChg chg="mod">
          <ac:chgData name="Mouna Mikati" userId="fbdfa09a-cab8-4e18-928e-bc783e3c1810" providerId="ADAL" clId="{D9DDEA39-F7D7-43B1-B398-0FBB65510E03}" dt="2023-09-22T17:47:48.134" v="31" actId="1036"/>
          <ac:spMkLst>
            <pc:docMk/>
            <pc:sldMk cId="2376327690" sldId="1468"/>
            <ac:spMk id="1153" creationId="{9E410E97-7528-7394-36E8-6A4EE0EAE67A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1154" creationId="{6102F300-8AC4-CDAA-9A2B-50B95D94FFCD}"/>
          </ac:spMkLst>
        </pc:spChg>
        <pc:spChg chg="mod">
          <ac:chgData name="Mouna Mikati" userId="fbdfa09a-cab8-4e18-928e-bc783e3c1810" providerId="ADAL" clId="{D9DDEA39-F7D7-43B1-B398-0FBB65510E03}" dt="2023-09-22T17:47:48.134" v="31" actId="1036"/>
          <ac:spMkLst>
            <pc:docMk/>
            <pc:sldMk cId="2376327690" sldId="1468"/>
            <ac:spMk id="1155" creationId="{882CE6E5-2754-CEBD-B07D-194B21B6C469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1156" creationId="{B7E4162E-6202-98A2-A480-50842BD7DCEE}"/>
          </ac:spMkLst>
        </pc:spChg>
        <pc:spChg chg="mod">
          <ac:chgData name="Mouna Mikati" userId="fbdfa09a-cab8-4e18-928e-bc783e3c1810" providerId="ADAL" clId="{D9DDEA39-F7D7-43B1-B398-0FBB65510E03}" dt="2023-09-22T17:47:48.134" v="31" actId="1036"/>
          <ac:spMkLst>
            <pc:docMk/>
            <pc:sldMk cId="2376327690" sldId="1468"/>
            <ac:spMk id="1157" creationId="{34B251F5-108F-1375-6D1D-FEACF58B943D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1158" creationId="{09CFCE4E-B8FF-CD18-D54C-515121D1690E}"/>
          </ac:spMkLst>
        </pc:spChg>
        <pc:spChg chg="mod">
          <ac:chgData name="Mouna Mikati" userId="fbdfa09a-cab8-4e18-928e-bc783e3c1810" providerId="ADAL" clId="{D9DDEA39-F7D7-43B1-B398-0FBB65510E03}" dt="2023-09-22T17:47:48.134" v="31" actId="1036"/>
          <ac:spMkLst>
            <pc:docMk/>
            <pc:sldMk cId="2376327690" sldId="1468"/>
            <ac:spMk id="1159" creationId="{A089E71C-E7D2-B6BA-3CDF-638059AAD86B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1160" creationId="{FC25AE3E-A85D-162E-28F7-F32805322F68}"/>
          </ac:spMkLst>
        </pc:spChg>
        <pc:spChg chg="mod">
          <ac:chgData name="Mouna Mikati" userId="fbdfa09a-cab8-4e18-928e-bc783e3c1810" providerId="ADAL" clId="{D9DDEA39-F7D7-43B1-B398-0FBB65510E03}" dt="2023-09-22T17:47:48.134" v="31" actId="1036"/>
          <ac:spMkLst>
            <pc:docMk/>
            <pc:sldMk cId="2376327690" sldId="1468"/>
            <ac:spMk id="1161" creationId="{33D2C7DB-4873-6D35-1BC1-937BBE9283B8}"/>
          </ac:spMkLst>
        </pc:spChg>
        <pc:spChg chg="mod">
          <ac:chgData name="Mouna Mikati" userId="fbdfa09a-cab8-4e18-928e-bc783e3c1810" providerId="ADAL" clId="{D9DDEA39-F7D7-43B1-B398-0FBB65510E03}" dt="2023-09-22T17:46:32.772" v="19" actId="403"/>
          <ac:spMkLst>
            <pc:docMk/>
            <pc:sldMk cId="2376327690" sldId="1468"/>
            <ac:spMk id="1163" creationId="{8EAF4E09-3648-3674-3C6B-5B623B6FE572}"/>
          </ac:spMkLst>
        </pc:spChg>
        <pc:spChg chg="mod">
          <ac:chgData name="Mouna Mikati" userId="fbdfa09a-cab8-4e18-928e-bc783e3c1810" providerId="ADAL" clId="{D9DDEA39-F7D7-43B1-B398-0FBB65510E03}" dt="2023-09-22T17:46:45.064" v="20" actId="255"/>
          <ac:spMkLst>
            <pc:docMk/>
            <pc:sldMk cId="2376327690" sldId="1468"/>
            <ac:spMk id="1166" creationId="{D88693F5-3E1D-EDFE-E5FA-E45BBE5CE953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1167" creationId="{DD13F6B6-874D-63B1-C476-0DA5C72AB72A}"/>
          </ac:spMkLst>
        </pc:spChg>
        <pc:spChg chg="mod">
          <ac:chgData name="Mouna Mikati" userId="fbdfa09a-cab8-4e18-928e-bc783e3c1810" providerId="ADAL" clId="{D9DDEA39-F7D7-43B1-B398-0FBB65510E03}" dt="2023-09-22T17:46:23.880" v="18" actId="404"/>
          <ac:spMkLst>
            <pc:docMk/>
            <pc:sldMk cId="2376327690" sldId="1468"/>
            <ac:spMk id="1168" creationId="{84FAF50C-90AF-2A19-5BA5-1C11709C5A89}"/>
          </ac:spMkLst>
        </pc:spChg>
        <pc:spChg chg="mod">
          <ac:chgData name="Mouna Mikati" userId="fbdfa09a-cab8-4e18-928e-bc783e3c1810" providerId="ADAL" clId="{D9DDEA39-F7D7-43B1-B398-0FBB65510E03}" dt="2023-09-22T17:48:29.623" v="46" actId="1035"/>
          <ac:spMkLst>
            <pc:docMk/>
            <pc:sldMk cId="2376327690" sldId="1468"/>
            <ac:spMk id="1169" creationId="{7653F8B4-0283-BF64-49EB-DD29C0168694}"/>
          </ac:spMkLst>
        </pc:spChg>
        <pc:spChg chg="mod">
          <ac:chgData name="Mouna Mikati" userId="fbdfa09a-cab8-4e18-928e-bc783e3c1810" providerId="ADAL" clId="{D9DDEA39-F7D7-43B1-B398-0FBB65510E03}" dt="2023-09-22T17:48:31.272" v="47" actId="1035"/>
          <ac:spMkLst>
            <pc:docMk/>
            <pc:sldMk cId="2376327690" sldId="1468"/>
            <ac:spMk id="1170" creationId="{4B59D6CF-CC6D-0AB0-80E2-F09D544612C7}"/>
          </ac:spMkLst>
        </pc:spChg>
        <pc:spChg chg="mod">
          <ac:chgData name="Mouna Mikati" userId="fbdfa09a-cab8-4e18-928e-bc783e3c1810" providerId="ADAL" clId="{D9DDEA39-F7D7-43B1-B398-0FBB65510E03}" dt="2023-09-22T17:47:14.705" v="25" actId="403"/>
          <ac:spMkLst>
            <pc:docMk/>
            <pc:sldMk cId="2376327690" sldId="1468"/>
            <ac:spMk id="1171" creationId="{A6DD7219-6AA6-4CA3-9713-59C73FD39B95}"/>
          </ac:spMkLst>
        </pc:spChg>
        <pc:spChg chg="mod">
          <ac:chgData name="Mouna Mikati" userId="fbdfa09a-cab8-4e18-928e-bc783e3c1810" providerId="ADAL" clId="{D9DDEA39-F7D7-43B1-B398-0FBB65510E03}" dt="2023-09-22T17:47:30.760" v="27" actId="255"/>
          <ac:spMkLst>
            <pc:docMk/>
            <pc:sldMk cId="2376327690" sldId="1468"/>
            <ac:spMk id="1172" creationId="{9E60C23B-3C0A-FB63-C13E-66608DFD7105}"/>
          </ac:spMkLst>
        </pc:spChg>
        <pc:spChg chg="mod">
          <ac:chgData name="Mouna Mikati" userId="fbdfa09a-cab8-4e18-928e-bc783e3c1810" providerId="ADAL" clId="{D9DDEA39-F7D7-43B1-B398-0FBB65510E03}" dt="2023-09-22T17:47:30.760" v="27" actId="255"/>
          <ac:spMkLst>
            <pc:docMk/>
            <pc:sldMk cId="2376327690" sldId="1468"/>
            <ac:spMk id="1174" creationId="{9A1F0C44-432C-A0AB-BD6B-A85DAAB36336}"/>
          </ac:spMkLst>
        </pc:spChg>
        <pc:spChg chg="mod">
          <ac:chgData name="Mouna Mikati" userId="fbdfa09a-cab8-4e18-928e-bc783e3c1810" providerId="ADAL" clId="{D9DDEA39-F7D7-43B1-B398-0FBB65510E03}" dt="2023-09-22T17:47:14.705" v="25" actId="403"/>
          <ac:spMkLst>
            <pc:docMk/>
            <pc:sldMk cId="2376327690" sldId="1468"/>
            <ac:spMk id="1177" creationId="{048D2826-16ED-FFC5-1302-3762C6DA66CD}"/>
          </ac:spMkLst>
        </pc:spChg>
        <pc:spChg chg="mod">
          <ac:chgData name="Mouna Mikati" userId="fbdfa09a-cab8-4e18-928e-bc783e3c1810" providerId="ADAL" clId="{D9DDEA39-F7D7-43B1-B398-0FBB65510E03}" dt="2023-09-22T17:47:14.705" v="25" actId="403"/>
          <ac:spMkLst>
            <pc:docMk/>
            <pc:sldMk cId="2376327690" sldId="1468"/>
            <ac:spMk id="1178" creationId="{66C5658F-84B2-2E71-E1D5-20D4C7DF8DB6}"/>
          </ac:spMkLst>
        </pc:spChg>
        <pc:spChg chg="mod">
          <ac:chgData name="Mouna Mikati" userId="fbdfa09a-cab8-4e18-928e-bc783e3c1810" providerId="ADAL" clId="{D9DDEA39-F7D7-43B1-B398-0FBB65510E03}" dt="2023-09-22T17:47:14.705" v="25" actId="403"/>
          <ac:spMkLst>
            <pc:docMk/>
            <pc:sldMk cId="2376327690" sldId="1468"/>
            <ac:spMk id="1179" creationId="{6C33FF04-8EE0-7A8D-E28F-869E00B3B953}"/>
          </ac:spMkLst>
        </pc:spChg>
        <pc:spChg chg="mod">
          <ac:chgData name="Mouna Mikati" userId="fbdfa09a-cab8-4e18-928e-bc783e3c1810" providerId="ADAL" clId="{D9DDEA39-F7D7-43B1-B398-0FBB65510E03}" dt="2023-09-22T17:46:01.332" v="13" actId="113"/>
          <ac:spMkLst>
            <pc:docMk/>
            <pc:sldMk cId="2376327690" sldId="1468"/>
            <ac:spMk id="1182" creationId="{128E0287-A801-E071-B707-C312E8532508}"/>
          </ac:spMkLst>
        </pc:spChg>
        <pc:spChg chg="mod">
          <ac:chgData name="Mouna Mikati" userId="fbdfa09a-cab8-4e18-928e-bc783e3c1810" providerId="ADAL" clId="{D9DDEA39-F7D7-43B1-B398-0FBB65510E03}" dt="2023-09-22T17:46:01.332" v="13" actId="113"/>
          <ac:spMkLst>
            <pc:docMk/>
            <pc:sldMk cId="2376327690" sldId="1468"/>
            <ac:spMk id="1183" creationId="{1114FCFF-6228-EB55-0668-7EF6AF70714B}"/>
          </ac:spMkLst>
        </pc:spChg>
        <pc:spChg chg="mod">
          <ac:chgData name="Mouna Mikati" userId="fbdfa09a-cab8-4e18-928e-bc783e3c1810" providerId="ADAL" clId="{D9DDEA39-F7D7-43B1-B398-0FBB65510E03}" dt="2023-09-22T17:46:01.332" v="13" actId="113"/>
          <ac:spMkLst>
            <pc:docMk/>
            <pc:sldMk cId="2376327690" sldId="1468"/>
            <ac:spMk id="1184" creationId="{82BFB1FC-2595-E695-3E61-FB17EFEC31A1}"/>
          </ac:spMkLst>
        </pc:spChg>
        <pc:spChg chg="mod">
          <ac:chgData name="Mouna Mikati" userId="fbdfa09a-cab8-4e18-928e-bc783e3c1810" providerId="ADAL" clId="{D9DDEA39-F7D7-43B1-B398-0FBB65510E03}" dt="2023-09-22T17:46:01.332" v="13" actId="113"/>
          <ac:spMkLst>
            <pc:docMk/>
            <pc:sldMk cId="2376327690" sldId="1468"/>
            <ac:spMk id="1185" creationId="{8AAAF16F-823F-8773-716A-694F43450C90}"/>
          </ac:spMkLst>
        </pc:spChg>
        <pc:spChg chg="mod">
          <ac:chgData name="Mouna Mikati" userId="fbdfa09a-cab8-4e18-928e-bc783e3c1810" providerId="ADAL" clId="{D9DDEA39-F7D7-43B1-B398-0FBB65510E03}" dt="2023-09-22T17:46:01.332" v="13" actId="113"/>
          <ac:spMkLst>
            <pc:docMk/>
            <pc:sldMk cId="2376327690" sldId="1468"/>
            <ac:spMk id="1186" creationId="{3DBAD21E-4AC9-6A81-9F58-6C84A81AB0B7}"/>
          </ac:spMkLst>
        </pc:spChg>
        <pc:spChg chg="mod">
          <ac:chgData name="Mouna Mikati" userId="fbdfa09a-cab8-4e18-928e-bc783e3c1810" providerId="ADAL" clId="{D9DDEA39-F7D7-43B1-B398-0FBB65510E03}" dt="2023-09-22T17:46:01.332" v="13" actId="113"/>
          <ac:spMkLst>
            <pc:docMk/>
            <pc:sldMk cId="2376327690" sldId="1468"/>
            <ac:spMk id="1187" creationId="{01DA2F97-AE06-A086-F833-ED673E0A2C49}"/>
          </ac:spMkLst>
        </pc:spChg>
        <pc:picChg chg="mod">
          <ac:chgData name="Mouna Mikati" userId="fbdfa09a-cab8-4e18-928e-bc783e3c1810" providerId="ADAL" clId="{D9DDEA39-F7D7-43B1-B398-0FBB65510E03}" dt="2023-09-22T18:20:12.361" v="49" actId="1038"/>
          <ac:picMkLst>
            <pc:docMk/>
            <pc:sldMk cId="2376327690" sldId="1468"/>
            <ac:picMk id="4" creationId="{3E87EB87-379E-218C-1E01-5D01BB74F92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7B7EB0-49AB-4EA1-81BF-5684178C1066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4463E0-EB36-41B5-B32B-9131BA524C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228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9938"/>
            <a:ext cx="6819900" cy="38369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439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EC5513-45E0-407B-9456-BF185C3F1423}" type="slidenum">
              <a:rPr kumimoji="0" lang="de-DE" sz="551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pitchFamily="18" charset="0"/>
                <a:ea typeface="+mn-ea"/>
                <a:cs typeface="+mn-cs"/>
              </a:rPr>
              <a:pPr marL="0" marR="0" lvl="0" indent="0" algn="r" defTabSz="94439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551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9437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E5395E-4EC7-4234-88AD-B4F00D153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745016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E5395E-4EC7-4234-88AD-B4F00D153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C640373-12A9-46AB-BB0A-B0047C6B26B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48" cy="1587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04693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807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RegularCondensed" panose="02000606030000020004" pitchFamily="2" charset="0"/>
              <a:ea typeface="+mj-ea"/>
              <a:cs typeface="+mj-cs"/>
              <a:sym typeface="Interstate-RegularCondensed" panose="02000606030000020004" pitchFamily="2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E508D86-06A2-4F58-88BA-DF43F4729E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47733" y="-154417"/>
            <a:ext cx="9647999" cy="8602784"/>
            <a:chOff x="2262188" y="87313"/>
            <a:chExt cx="7561263" cy="6742113"/>
          </a:xfrm>
          <a:solidFill>
            <a:schemeClr val="bg1">
              <a:alpha val="15000"/>
            </a:schemeClr>
          </a:solidFill>
        </p:grpSpPr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8E9CD9B2-0006-4E0E-B368-AE647F21D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3216275"/>
              <a:ext cx="1160463" cy="1089025"/>
            </a:xfrm>
            <a:custGeom>
              <a:avLst/>
              <a:gdLst>
                <a:gd name="T0" fmla="*/ 293 w 479"/>
                <a:gd name="T1" fmla="*/ 417 h 449"/>
                <a:gd name="T2" fmla="*/ 450 w 479"/>
                <a:gd name="T3" fmla="*/ 166 h 449"/>
                <a:gd name="T4" fmla="*/ 186 w 479"/>
                <a:gd name="T5" fmla="*/ 32 h 449"/>
                <a:gd name="T6" fmla="*/ 29 w 479"/>
                <a:gd name="T7" fmla="*/ 282 h 449"/>
                <a:gd name="T8" fmla="*/ 293 w 479"/>
                <a:gd name="T9" fmla="*/ 41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449">
                  <a:moveTo>
                    <a:pt x="293" y="417"/>
                  </a:moveTo>
                  <a:cubicBezTo>
                    <a:pt x="409" y="385"/>
                    <a:pt x="479" y="272"/>
                    <a:pt x="450" y="166"/>
                  </a:cubicBezTo>
                  <a:cubicBezTo>
                    <a:pt x="421" y="60"/>
                    <a:pt x="302" y="0"/>
                    <a:pt x="186" y="32"/>
                  </a:cubicBezTo>
                  <a:cubicBezTo>
                    <a:pt x="71" y="64"/>
                    <a:pt x="0" y="176"/>
                    <a:pt x="29" y="282"/>
                  </a:cubicBezTo>
                  <a:cubicBezTo>
                    <a:pt x="59" y="389"/>
                    <a:pt x="177" y="449"/>
                    <a:pt x="293" y="4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85125E3A-9D41-4330-B192-A5BB8CCE3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363" y="901700"/>
              <a:ext cx="2859088" cy="4879975"/>
            </a:xfrm>
            <a:custGeom>
              <a:avLst/>
              <a:gdLst>
                <a:gd name="T0" fmla="*/ 1039 w 1180"/>
                <a:gd name="T1" fmla="*/ 0 h 2013"/>
                <a:gd name="T2" fmla="*/ 99 w 1180"/>
                <a:gd name="T3" fmla="*/ 1164 h 2013"/>
                <a:gd name="T4" fmla="*/ 1180 w 1180"/>
                <a:gd name="T5" fmla="*/ 2013 h 2013"/>
                <a:gd name="T6" fmla="*/ 284 w 1180"/>
                <a:gd name="T7" fmla="*/ 1119 h 2013"/>
                <a:gd name="T8" fmla="*/ 1039 w 1180"/>
                <a:gd name="T9" fmla="*/ 0 h 2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0" h="2013">
                  <a:moveTo>
                    <a:pt x="1039" y="0"/>
                  </a:moveTo>
                  <a:cubicBezTo>
                    <a:pt x="423" y="380"/>
                    <a:pt x="0" y="793"/>
                    <a:pt x="99" y="1164"/>
                  </a:cubicBezTo>
                  <a:cubicBezTo>
                    <a:pt x="188" y="1495"/>
                    <a:pt x="615" y="1792"/>
                    <a:pt x="1180" y="2013"/>
                  </a:cubicBezTo>
                  <a:cubicBezTo>
                    <a:pt x="713" y="1740"/>
                    <a:pt x="368" y="1419"/>
                    <a:pt x="284" y="1119"/>
                  </a:cubicBezTo>
                  <a:cubicBezTo>
                    <a:pt x="188" y="774"/>
                    <a:pt x="523" y="375"/>
                    <a:pt x="10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84A7E2F2-3DA4-43BA-B255-AA52C140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176" y="87313"/>
              <a:ext cx="5022850" cy="2533650"/>
            </a:xfrm>
            <a:custGeom>
              <a:avLst/>
              <a:gdLst>
                <a:gd name="T0" fmla="*/ 993 w 2073"/>
                <a:gd name="T1" fmla="*/ 899 h 1045"/>
                <a:gd name="T2" fmla="*/ 2073 w 2073"/>
                <a:gd name="T3" fmla="*/ 75 h 1045"/>
                <a:gd name="T4" fmla="*/ 1905 w 2073"/>
                <a:gd name="T5" fmla="*/ 230 h 1045"/>
                <a:gd name="T6" fmla="*/ 965 w 2073"/>
                <a:gd name="T7" fmla="*/ 770 h 1045"/>
                <a:gd name="T8" fmla="*/ 3 w 2073"/>
                <a:gd name="T9" fmla="*/ 0 h 1045"/>
                <a:gd name="T10" fmla="*/ 0 w 2073"/>
                <a:gd name="T11" fmla="*/ 0 h 1045"/>
                <a:gd name="T12" fmla="*/ 993 w 2073"/>
                <a:gd name="T13" fmla="*/ 899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3" h="1045">
                  <a:moveTo>
                    <a:pt x="993" y="899"/>
                  </a:moveTo>
                  <a:cubicBezTo>
                    <a:pt x="1260" y="825"/>
                    <a:pt x="1649" y="529"/>
                    <a:pt x="2073" y="75"/>
                  </a:cubicBezTo>
                  <a:cubicBezTo>
                    <a:pt x="1905" y="230"/>
                    <a:pt x="1905" y="230"/>
                    <a:pt x="1905" y="230"/>
                  </a:cubicBezTo>
                  <a:cubicBezTo>
                    <a:pt x="1530" y="557"/>
                    <a:pt x="1344" y="662"/>
                    <a:pt x="965" y="770"/>
                  </a:cubicBezTo>
                  <a:cubicBezTo>
                    <a:pt x="572" y="882"/>
                    <a:pt x="215" y="417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1" y="585"/>
                    <a:pt x="463" y="1045"/>
                    <a:pt x="993" y="8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7009E778-D38B-493E-A402-9A51E638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2188" y="587375"/>
              <a:ext cx="2459038" cy="2773363"/>
            </a:xfrm>
            <a:custGeom>
              <a:avLst/>
              <a:gdLst>
                <a:gd name="T0" fmla="*/ 577 w 1015"/>
                <a:gd name="T1" fmla="*/ 1101 h 1144"/>
                <a:gd name="T2" fmla="*/ 848 w 1015"/>
                <a:gd name="T3" fmla="*/ 285 h 1144"/>
                <a:gd name="T4" fmla="*/ 701 w 1015"/>
                <a:gd name="T5" fmla="*/ 0 h 1144"/>
                <a:gd name="T6" fmla="*/ 790 w 1015"/>
                <a:gd name="T7" fmla="*/ 204 h 1144"/>
                <a:gd name="T8" fmla="*/ 481 w 1015"/>
                <a:gd name="T9" fmla="*/ 1029 h 1144"/>
                <a:gd name="T10" fmla="*/ 0 w 1015"/>
                <a:gd name="T11" fmla="*/ 1028 h 1144"/>
                <a:gd name="T12" fmla="*/ 577 w 1015"/>
                <a:gd name="T13" fmla="*/ 1101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5" h="1144">
                  <a:moveTo>
                    <a:pt x="577" y="1101"/>
                  </a:moveTo>
                  <a:cubicBezTo>
                    <a:pt x="1015" y="980"/>
                    <a:pt x="958" y="685"/>
                    <a:pt x="848" y="285"/>
                  </a:cubicBezTo>
                  <a:cubicBezTo>
                    <a:pt x="820" y="183"/>
                    <a:pt x="761" y="86"/>
                    <a:pt x="701" y="0"/>
                  </a:cubicBezTo>
                  <a:cubicBezTo>
                    <a:pt x="737" y="66"/>
                    <a:pt x="771" y="135"/>
                    <a:pt x="790" y="204"/>
                  </a:cubicBezTo>
                  <a:cubicBezTo>
                    <a:pt x="889" y="609"/>
                    <a:pt x="905" y="891"/>
                    <a:pt x="481" y="1029"/>
                  </a:cubicBezTo>
                  <a:cubicBezTo>
                    <a:pt x="349" y="1065"/>
                    <a:pt x="178" y="1062"/>
                    <a:pt x="0" y="1028"/>
                  </a:cubicBezTo>
                  <a:cubicBezTo>
                    <a:pt x="210" y="1109"/>
                    <a:pt x="420" y="1144"/>
                    <a:pt x="577" y="11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9E182076-0BC3-4F20-BD7C-E2FC65EF7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426" y="4414838"/>
              <a:ext cx="4268788" cy="2414588"/>
            </a:xfrm>
            <a:custGeom>
              <a:avLst/>
              <a:gdLst>
                <a:gd name="T0" fmla="*/ 965 w 1762"/>
                <a:gd name="T1" fmla="*/ 142 h 996"/>
                <a:gd name="T2" fmla="*/ 1762 w 1762"/>
                <a:gd name="T3" fmla="*/ 822 h 996"/>
                <a:gd name="T4" fmla="*/ 1005 w 1762"/>
                <a:gd name="T5" fmla="*/ 300 h 996"/>
                <a:gd name="T6" fmla="*/ 0 w 1762"/>
                <a:gd name="T7" fmla="*/ 996 h 996"/>
                <a:gd name="T8" fmla="*/ 965 w 1762"/>
                <a:gd name="T9" fmla="*/ 142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2" h="996">
                  <a:moveTo>
                    <a:pt x="965" y="142"/>
                  </a:moveTo>
                  <a:cubicBezTo>
                    <a:pt x="1169" y="200"/>
                    <a:pt x="1455" y="461"/>
                    <a:pt x="1762" y="822"/>
                  </a:cubicBezTo>
                  <a:cubicBezTo>
                    <a:pt x="1462" y="550"/>
                    <a:pt x="1183" y="352"/>
                    <a:pt x="1005" y="300"/>
                  </a:cubicBezTo>
                  <a:cubicBezTo>
                    <a:pt x="546" y="168"/>
                    <a:pt x="216" y="506"/>
                    <a:pt x="0" y="996"/>
                  </a:cubicBezTo>
                  <a:cubicBezTo>
                    <a:pt x="189" y="434"/>
                    <a:pt x="462" y="0"/>
                    <a:pt x="965" y="1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</p:grp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1409" y="1844945"/>
            <a:ext cx="7200002" cy="1080000"/>
          </a:xfrm>
        </p:spPr>
        <p:txBody>
          <a:bodyPr anchor="b" anchorCtr="0"/>
          <a:lstStyle>
            <a:lvl1pPr>
              <a:lnSpc>
                <a:spcPct val="110000"/>
              </a:lnSpc>
              <a:defRPr sz="807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31409" y="2924947"/>
            <a:ext cx="7200002" cy="1152001"/>
          </a:xfrm>
        </p:spPr>
        <p:txBody>
          <a:bodyPr/>
          <a:lstStyle>
            <a:lvl1pPr marL="0" indent="0">
              <a:spcBef>
                <a:spcPts val="0"/>
              </a:spcBef>
              <a:buFont typeface="Times" pitchFamily="18" charset="0"/>
              <a:buNone/>
              <a:defRPr baseline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A03B0D9-58C2-4637-A8DB-0A046DD7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611" y="5445131"/>
            <a:ext cx="6059484" cy="359998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4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2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Vorname Name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98D8AEA0-80A2-4F06-B903-DA141CB466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611" y="5841313"/>
            <a:ext cx="6059484" cy="35999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47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2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Ort, Datum</a:t>
            </a:r>
          </a:p>
        </p:txBody>
      </p:sp>
      <p:pic>
        <p:nvPicPr>
          <p:cNvPr id="7" name="Grafik 6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8F7B42C-8835-4B37-90D4-A6A71F40CF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86"/>
          <a:stretch/>
        </p:blipFill>
        <p:spPr>
          <a:xfrm>
            <a:off x="9192349" y="250268"/>
            <a:ext cx="2370977" cy="838475"/>
          </a:xfrm>
          <a:prstGeom prst="rect">
            <a:avLst/>
          </a:prstGeom>
        </p:spPr>
      </p:pic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C8B3F87-6747-4D8C-BA29-0DFB14E0F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874"/>
          <a:stretch/>
        </p:blipFill>
        <p:spPr>
          <a:xfrm>
            <a:off x="9192339" y="1016736"/>
            <a:ext cx="2365253" cy="295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19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2F0AFBF-A2F6-424A-8AC0-2BD956A48A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961196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45" imgH="245" progId="TCLayout.ActiveDocument.1">
                  <p:embed/>
                </p:oleObj>
              </mc:Choice>
              <mc:Fallback>
                <p:oleObj name="think-cell Folie" r:id="rId3" imgW="245" imgH="2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2F0AFBF-A2F6-424A-8AC0-2BD956A48A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610EC16-8C95-4435-9D6E-B29334DFE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18F3C29-03D7-4A48-9566-F1808FAF6C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0E9FBFE-1D9C-40CC-BE3C-2A613CD0C2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0136438-AAFD-4A49-B838-0F9EC763B6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1835" y="656695"/>
            <a:ext cx="7919999" cy="86518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accent3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70" cap="none" spc="0" baseline="0"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70" cap="none" spc="0" baseline="0">
                <a:solidFill>
                  <a:schemeClr val="accent2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none" spc="0" baseline="0">
                <a:solidFill>
                  <a:schemeClr val="accent3"/>
                </a:solidFill>
                <a:latin typeface="+mj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tx1"/>
                </a:solidFill>
                <a:latin typeface="+mj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accent2"/>
                </a:solidFill>
                <a:latin typeface="+mj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de-DE"/>
              <a:t>Aussage in maximal zwei Zeilen hinzufügen</a:t>
            </a:r>
          </a:p>
        </p:txBody>
      </p:sp>
    </p:spTree>
    <p:extLst>
      <p:ext uri="{BB962C8B-B14F-4D97-AF65-F5344CB8AC3E}">
        <p14:creationId xmlns:p14="http://schemas.microsoft.com/office/powerpoint/2010/main" val="91342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0C7A36-E043-47C3-B794-EFD3E18C95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011201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0C7A36-E043-47C3-B794-EFD3E18C95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246D9B33-23D5-40E6-8A4B-40D53423B21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48" cy="1587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046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79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RegularCondensed" panose="020B0604020202020204" charset="0"/>
              <a:ea typeface="+mj-ea"/>
              <a:cs typeface="+mj-cs"/>
              <a:sym typeface="Interstate-RegularCondensed" panose="020B060402020202020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7EC575A-DC68-4BDD-93CC-74998258F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CC32865-5241-4AE3-A1B9-FE866967C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C9782A1-18D4-43DA-9265-46799E557A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68E591BC-15FF-48B1-A4F2-3F25737DA90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31403" y="1844828"/>
            <a:ext cx="5292001" cy="442799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0">
            <a:extLst>
              <a:ext uri="{FF2B5EF4-FFF2-40B4-BE49-F238E27FC236}">
                <a16:creationId xmlns:a16="http://schemas.microsoft.com/office/drawing/2014/main" id="{4E747B72-BEAC-4901-8878-1593FC3918F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32008" y="1844828"/>
            <a:ext cx="5292001" cy="442799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F0A6756-F601-4793-96B7-3B4C2B4601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835" y="656695"/>
            <a:ext cx="7919999" cy="86518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accent3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70" cap="none" spc="0" baseline="0"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70" cap="none" spc="0" baseline="0">
                <a:solidFill>
                  <a:schemeClr val="accent2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none" spc="0" baseline="0">
                <a:solidFill>
                  <a:schemeClr val="accent3"/>
                </a:solidFill>
                <a:latin typeface="+mj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tx1"/>
                </a:solidFill>
                <a:latin typeface="+mj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accent2"/>
                </a:solidFill>
                <a:latin typeface="+mj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de-DE"/>
              <a:t>Aussage in maximal zwei Zeil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87553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815496-1EAC-4C07-B340-40F110AE39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FFC230-5EB3-4EF7-A7B7-53495B92ED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8E4472A-45B2-42F7-A7D8-A419E72524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7AB46D4-D807-42E7-8874-06FF45652F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1836" y="1844675"/>
            <a:ext cx="10693401" cy="540000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101749F4-4254-4B2E-843C-5D2018FCFC2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31836" y="2456893"/>
            <a:ext cx="10693401" cy="3816002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7184F925-92E2-484F-A8CE-7F2F2FD97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835" y="656695"/>
            <a:ext cx="7919999" cy="86518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accent3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70" cap="none" spc="0" baseline="0"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70" cap="none" spc="0" baseline="0">
                <a:solidFill>
                  <a:schemeClr val="accent2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none" spc="0" baseline="0">
                <a:solidFill>
                  <a:schemeClr val="accent3"/>
                </a:solidFill>
                <a:latin typeface="+mj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tx1"/>
                </a:solidFill>
                <a:latin typeface="+mj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accent2"/>
                </a:solidFill>
                <a:latin typeface="+mj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de-DE"/>
              <a:t>Aussage in maximal zwei Zeil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837202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5139">
          <p15:clr>
            <a:srgbClr val="FBAE40"/>
          </p15:clr>
        </p15:guide>
        <p15:guide id="2" orient="horz" pos="752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815496-1EAC-4C07-B340-40F110AE39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FFC230-5EB3-4EF7-A7B7-53495B92ED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8E4472A-45B2-42F7-A7D8-A419E72524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7AB46D4-D807-42E7-8874-06FF45652F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1836" y="1844675"/>
            <a:ext cx="5292729" cy="540000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101749F4-4254-4B2E-843C-5D2018FCFC2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31836" y="2456893"/>
            <a:ext cx="5292729" cy="3816002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CF0449D8-1521-408B-8B32-F8A236085D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31865" y="1844675"/>
            <a:ext cx="5292729" cy="540000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Diagrammplatzhalter 7">
            <a:extLst>
              <a:ext uri="{FF2B5EF4-FFF2-40B4-BE49-F238E27FC236}">
                <a16:creationId xmlns:a16="http://schemas.microsoft.com/office/drawing/2014/main" id="{1F3F504A-6187-4B1B-B3B5-3546ABBF6095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31865" y="2456893"/>
            <a:ext cx="5292729" cy="3816002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FFFC9913-FA2D-4765-A5C6-76ED1B0F11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1835" y="656695"/>
            <a:ext cx="7919999" cy="86518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accent3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70" cap="none" spc="0" baseline="0"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70" cap="none" spc="0" baseline="0">
                <a:solidFill>
                  <a:schemeClr val="accent2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none" spc="0" baseline="0">
                <a:solidFill>
                  <a:schemeClr val="accent3"/>
                </a:solidFill>
                <a:latin typeface="+mj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tx1"/>
                </a:solidFill>
                <a:latin typeface="+mj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accent2"/>
                </a:solidFill>
                <a:latin typeface="+mj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de-DE"/>
              <a:t>Aussage in maximal zwei Zeil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05449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5139">
          <p15:clr>
            <a:srgbClr val="FBAE40"/>
          </p15:clr>
        </p15:guide>
        <p15:guide id="2" orient="horz" pos="752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773511E-0E3C-41FE-8835-2D141C40A1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1283378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45" imgH="245" progId="TCLayout.ActiveDocument.1">
                  <p:embed/>
                </p:oleObj>
              </mc:Choice>
              <mc:Fallback>
                <p:oleObj name="think-cell Folie" r:id="rId3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773511E-0E3C-41FE-8835-2D141C40A1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1C5DD17-9E59-40CE-9C16-BEC1248E617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" y="1"/>
            <a:ext cx="12192000" cy="4005263"/>
          </a:xfrm>
          <a:solidFill>
            <a:schemeClr val="tx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ECADE0-2B71-4B97-BFF9-CC4067977D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EC8864-654D-4713-9C98-89EC9AF511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5645FF1-ED9F-4769-A5E5-4F4DAC681E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" y="4005270"/>
            <a:ext cx="12192000" cy="2592385"/>
          </a:xfrm>
          <a:solidFill>
            <a:schemeClr val="bg2"/>
          </a:solidFill>
        </p:spPr>
        <p:txBody>
          <a:bodyPr lIns="720000" tIns="612000" rIns="720000" bIns="144000" numCol="2" spcCol="28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447">
                <a:solidFill>
                  <a:schemeClr val="bg1"/>
                </a:solidFill>
                <a:latin typeface="+mj-lt"/>
              </a:defRPr>
            </a:lvl2pPr>
            <a:lvl3pPr marL="48354" indent="-48354">
              <a:buFont typeface="Wingdings" panose="05000000000000000000" pitchFamily="2" charset="2"/>
              <a:buChar char=""/>
              <a:defRPr sz="447">
                <a:solidFill>
                  <a:schemeClr val="bg1"/>
                </a:solidFill>
              </a:defRPr>
            </a:lvl3pPr>
            <a:lvl4pPr marL="64471" indent="-64471">
              <a:spcBef>
                <a:spcPts val="133"/>
              </a:spcBef>
              <a:buClr>
                <a:schemeClr val="bg1"/>
              </a:buClr>
              <a:buSzPct val="180000"/>
              <a:buFontTx/>
              <a:buBlip>
                <a:blip r:embed="rId5"/>
              </a:buBlip>
              <a:defRPr sz="447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447">
                <a:solidFill>
                  <a:schemeClr val="accent3"/>
                </a:solidFill>
                <a:latin typeface="+mj-lt"/>
              </a:defRPr>
            </a:lvl5pPr>
            <a:lvl6pPr marL="48354" indent="-48354">
              <a:buClr>
                <a:schemeClr val="accent3"/>
              </a:buClr>
              <a:buFont typeface="Wingdings" panose="05000000000000000000" pitchFamily="2" charset="2"/>
              <a:buChar char=""/>
              <a:defRPr sz="447">
                <a:solidFill>
                  <a:schemeClr val="bg1"/>
                </a:solidFill>
              </a:defRPr>
            </a:lvl6pPr>
            <a:lvl7pPr marL="64471" indent="-64471">
              <a:spcBef>
                <a:spcPts val="133"/>
              </a:spcBef>
              <a:buSzPct val="180000"/>
              <a:buFontTx/>
              <a:buBlip>
                <a:blip r:embed="rId6"/>
              </a:buBlip>
              <a:defRPr sz="447">
                <a:solidFill>
                  <a:schemeClr val="bg1"/>
                </a:solidFill>
                <a:latin typeface="+mn-lt"/>
              </a:defRPr>
            </a:lvl7pPr>
            <a:lvl8pPr>
              <a:defRPr sz="447">
                <a:solidFill>
                  <a:schemeClr val="bg1"/>
                </a:solidFill>
              </a:defRPr>
            </a:lvl8pPr>
            <a:lvl9pPr>
              <a:defRPr sz="4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 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11537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14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und Transpar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E5395E-4EC7-4234-88AD-B4F00D153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3787086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E5395E-4EC7-4234-88AD-B4F00D153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C640373-12A9-46AB-BB0A-B0047C6B26B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48" cy="1587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04693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807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RegularCondensed" panose="02000606030000020004" pitchFamily="2" charset="0"/>
              <a:ea typeface="+mj-ea"/>
              <a:cs typeface="+mj-cs"/>
              <a:sym typeface="Interstate-RegularCondensed" panose="02000606030000020004" pitchFamily="2" charset="0"/>
            </a:endParaRP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1138A8F7-A5AD-4A2C-A6EF-80AFA4F6F1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" y="3"/>
            <a:ext cx="12192000" cy="6858000"/>
          </a:xfrm>
          <a:noFill/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E1CBCC5-BEC5-4D7B-BEA9-E461BD6D4B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" y="3"/>
            <a:ext cx="7199316" cy="6858000"/>
          </a:xfrm>
          <a:gradFill flip="none" rotWithShape="1">
            <a:gsLst>
              <a:gs pos="51000">
                <a:schemeClr val="bg1">
                  <a:alpha val="51000"/>
                </a:schemeClr>
              </a:gs>
              <a:gs pos="14000">
                <a:schemeClr val="bg1">
                  <a:alpha val="90000"/>
                </a:schemeClr>
              </a:gs>
              <a:gs pos="84000">
                <a:srgbClr val="FFFFFF">
                  <a:alpha val="0"/>
                </a:srgbClr>
              </a:gs>
            </a:gsLst>
            <a:lin ang="0" scaled="1"/>
            <a:tileRect/>
          </a:gradFill>
        </p:spPr>
        <p:txBody>
          <a:bodyPr/>
          <a:lstStyle>
            <a:lvl1pPr>
              <a:defRPr sz="379">
                <a:solidFill>
                  <a:schemeClr val="bg1"/>
                </a:solidFill>
              </a:defRPr>
            </a:lvl1pPr>
            <a:lvl2pPr>
              <a:defRPr sz="379">
                <a:solidFill>
                  <a:schemeClr val="bg1"/>
                </a:solidFill>
              </a:defRPr>
            </a:lvl2pPr>
            <a:lvl3pPr>
              <a:defRPr sz="379">
                <a:solidFill>
                  <a:schemeClr val="bg1"/>
                </a:solidFill>
              </a:defRPr>
            </a:lvl3pPr>
            <a:lvl4pPr>
              <a:defRPr sz="379">
                <a:solidFill>
                  <a:schemeClr val="bg1"/>
                </a:solidFill>
              </a:defRPr>
            </a:lvl4pPr>
            <a:lvl5pPr>
              <a:defRPr sz="379">
                <a:solidFill>
                  <a:schemeClr val="bg1"/>
                </a:solidFill>
              </a:defRPr>
            </a:lvl5pPr>
            <a:lvl6pPr>
              <a:defRPr sz="379">
                <a:solidFill>
                  <a:schemeClr val="bg1"/>
                </a:solidFill>
              </a:defRPr>
            </a:lvl6pPr>
            <a:lvl7pPr>
              <a:defRPr sz="379">
                <a:solidFill>
                  <a:schemeClr val="bg1"/>
                </a:solidFill>
              </a:defRPr>
            </a:lvl7pPr>
            <a:lvl8pPr>
              <a:defRPr sz="379">
                <a:solidFill>
                  <a:schemeClr val="bg1"/>
                </a:solidFill>
              </a:defRPr>
            </a:lvl8pPr>
            <a:lvl9pPr>
              <a:defRPr sz="379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1409" y="1844945"/>
            <a:ext cx="7200002" cy="1080000"/>
          </a:xfrm>
        </p:spPr>
        <p:txBody>
          <a:bodyPr anchor="b" anchorCtr="0"/>
          <a:lstStyle>
            <a:lvl1pPr>
              <a:lnSpc>
                <a:spcPct val="110000"/>
              </a:lnSpc>
              <a:defRPr sz="807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31407" y="2924947"/>
            <a:ext cx="5076563" cy="1152001"/>
          </a:xfrm>
        </p:spPr>
        <p:txBody>
          <a:bodyPr/>
          <a:lstStyle>
            <a:lvl1pPr marL="0" indent="0">
              <a:spcBef>
                <a:spcPts val="0"/>
              </a:spcBef>
              <a:buFont typeface="Times" pitchFamily="18" charset="0"/>
              <a:buNone/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A03B0D9-58C2-4637-A8DB-0A046DD7AE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611" y="5445131"/>
            <a:ext cx="6059484" cy="359998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47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2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Vorname Name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98D8AEA0-80A2-4F06-B903-DA141CB466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611" y="5841313"/>
            <a:ext cx="6059484" cy="35999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47">
                <a:solidFill>
                  <a:schemeClr val="bg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2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379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37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Ort, Datum</a:t>
            </a:r>
          </a:p>
        </p:txBody>
      </p:sp>
      <p:pic>
        <p:nvPicPr>
          <p:cNvPr id="11" name="Grafik 10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D2C5D171-C891-4685-AF19-978126D08D3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212" y="260648"/>
            <a:ext cx="2347200" cy="104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65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E5395E-4EC7-4234-88AD-B4F00D153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2973200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E5395E-4EC7-4234-88AD-B4F00D153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C640373-12A9-46AB-BB0A-B0047C6B26B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48" cy="1587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046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79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RegularCondensed" panose="02000606030000020004" pitchFamily="2" charset="0"/>
              <a:ea typeface="+mj-ea"/>
              <a:cs typeface="+mj-cs"/>
              <a:sym typeface="Interstate-RegularCondensed" panose="02000606030000020004" pitchFamily="2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E508D86-06A2-4F58-88BA-DF43F4729E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47733" y="-154417"/>
            <a:ext cx="9647999" cy="8602784"/>
            <a:chOff x="2262188" y="87313"/>
            <a:chExt cx="7561263" cy="6742113"/>
          </a:xfrm>
          <a:solidFill>
            <a:schemeClr val="bg1">
              <a:alpha val="15000"/>
            </a:schemeClr>
          </a:solidFill>
        </p:grpSpPr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8E9CD9B2-0006-4E0E-B368-AE647F21D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3216275"/>
              <a:ext cx="1160463" cy="1089025"/>
            </a:xfrm>
            <a:custGeom>
              <a:avLst/>
              <a:gdLst>
                <a:gd name="T0" fmla="*/ 293 w 479"/>
                <a:gd name="T1" fmla="*/ 417 h 449"/>
                <a:gd name="T2" fmla="*/ 450 w 479"/>
                <a:gd name="T3" fmla="*/ 166 h 449"/>
                <a:gd name="T4" fmla="*/ 186 w 479"/>
                <a:gd name="T5" fmla="*/ 32 h 449"/>
                <a:gd name="T6" fmla="*/ 29 w 479"/>
                <a:gd name="T7" fmla="*/ 282 h 449"/>
                <a:gd name="T8" fmla="*/ 293 w 479"/>
                <a:gd name="T9" fmla="*/ 41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449">
                  <a:moveTo>
                    <a:pt x="293" y="417"/>
                  </a:moveTo>
                  <a:cubicBezTo>
                    <a:pt x="409" y="385"/>
                    <a:pt x="479" y="272"/>
                    <a:pt x="450" y="166"/>
                  </a:cubicBezTo>
                  <a:cubicBezTo>
                    <a:pt x="421" y="60"/>
                    <a:pt x="302" y="0"/>
                    <a:pt x="186" y="32"/>
                  </a:cubicBezTo>
                  <a:cubicBezTo>
                    <a:pt x="71" y="64"/>
                    <a:pt x="0" y="176"/>
                    <a:pt x="29" y="282"/>
                  </a:cubicBezTo>
                  <a:cubicBezTo>
                    <a:pt x="59" y="389"/>
                    <a:pt x="177" y="449"/>
                    <a:pt x="293" y="4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85125E3A-9D41-4330-B192-A5BB8CCE3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363" y="901700"/>
              <a:ext cx="2859088" cy="4879975"/>
            </a:xfrm>
            <a:custGeom>
              <a:avLst/>
              <a:gdLst>
                <a:gd name="T0" fmla="*/ 1039 w 1180"/>
                <a:gd name="T1" fmla="*/ 0 h 2013"/>
                <a:gd name="T2" fmla="*/ 99 w 1180"/>
                <a:gd name="T3" fmla="*/ 1164 h 2013"/>
                <a:gd name="T4" fmla="*/ 1180 w 1180"/>
                <a:gd name="T5" fmla="*/ 2013 h 2013"/>
                <a:gd name="T6" fmla="*/ 284 w 1180"/>
                <a:gd name="T7" fmla="*/ 1119 h 2013"/>
                <a:gd name="T8" fmla="*/ 1039 w 1180"/>
                <a:gd name="T9" fmla="*/ 0 h 2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0" h="2013">
                  <a:moveTo>
                    <a:pt x="1039" y="0"/>
                  </a:moveTo>
                  <a:cubicBezTo>
                    <a:pt x="423" y="380"/>
                    <a:pt x="0" y="793"/>
                    <a:pt x="99" y="1164"/>
                  </a:cubicBezTo>
                  <a:cubicBezTo>
                    <a:pt x="188" y="1495"/>
                    <a:pt x="615" y="1792"/>
                    <a:pt x="1180" y="2013"/>
                  </a:cubicBezTo>
                  <a:cubicBezTo>
                    <a:pt x="713" y="1740"/>
                    <a:pt x="368" y="1419"/>
                    <a:pt x="284" y="1119"/>
                  </a:cubicBezTo>
                  <a:cubicBezTo>
                    <a:pt x="188" y="774"/>
                    <a:pt x="523" y="375"/>
                    <a:pt x="10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84A7E2F2-3DA4-43BA-B255-AA52C140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176" y="87313"/>
              <a:ext cx="5022850" cy="2533650"/>
            </a:xfrm>
            <a:custGeom>
              <a:avLst/>
              <a:gdLst>
                <a:gd name="T0" fmla="*/ 993 w 2073"/>
                <a:gd name="T1" fmla="*/ 899 h 1045"/>
                <a:gd name="T2" fmla="*/ 2073 w 2073"/>
                <a:gd name="T3" fmla="*/ 75 h 1045"/>
                <a:gd name="T4" fmla="*/ 1905 w 2073"/>
                <a:gd name="T5" fmla="*/ 230 h 1045"/>
                <a:gd name="T6" fmla="*/ 965 w 2073"/>
                <a:gd name="T7" fmla="*/ 770 h 1045"/>
                <a:gd name="T8" fmla="*/ 3 w 2073"/>
                <a:gd name="T9" fmla="*/ 0 h 1045"/>
                <a:gd name="T10" fmla="*/ 0 w 2073"/>
                <a:gd name="T11" fmla="*/ 0 h 1045"/>
                <a:gd name="T12" fmla="*/ 993 w 2073"/>
                <a:gd name="T13" fmla="*/ 899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3" h="1045">
                  <a:moveTo>
                    <a:pt x="993" y="899"/>
                  </a:moveTo>
                  <a:cubicBezTo>
                    <a:pt x="1260" y="825"/>
                    <a:pt x="1649" y="529"/>
                    <a:pt x="2073" y="75"/>
                  </a:cubicBezTo>
                  <a:cubicBezTo>
                    <a:pt x="1905" y="230"/>
                    <a:pt x="1905" y="230"/>
                    <a:pt x="1905" y="230"/>
                  </a:cubicBezTo>
                  <a:cubicBezTo>
                    <a:pt x="1530" y="557"/>
                    <a:pt x="1344" y="662"/>
                    <a:pt x="965" y="770"/>
                  </a:cubicBezTo>
                  <a:cubicBezTo>
                    <a:pt x="572" y="882"/>
                    <a:pt x="215" y="417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1" y="585"/>
                    <a:pt x="463" y="1045"/>
                    <a:pt x="993" y="8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7009E778-D38B-493E-A402-9A51E638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2188" y="587375"/>
              <a:ext cx="2459038" cy="2773363"/>
            </a:xfrm>
            <a:custGeom>
              <a:avLst/>
              <a:gdLst>
                <a:gd name="T0" fmla="*/ 577 w 1015"/>
                <a:gd name="T1" fmla="*/ 1101 h 1144"/>
                <a:gd name="T2" fmla="*/ 848 w 1015"/>
                <a:gd name="T3" fmla="*/ 285 h 1144"/>
                <a:gd name="T4" fmla="*/ 701 w 1015"/>
                <a:gd name="T5" fmla="*/ 0 h 1144"/>
                <a:gd name="T6" fmla="*/ 790 w 1015"/>
                <a:gd name="T7" fmla="*/ 204 h 1144"/>
                <a:gd name="T8" fmla="*/ 481 w 1015"/>
                <a:gd name="T9" fmla="*/ 1029 h 1144"/>
                <a:gd name="T10" fmla="*/ 0 w 1015"/>
                <a:gd name="T11" fmla="*/ 1028 h 1144"/>
                <a:gd name="T12" fmla="*/ 577 w 1015"/>
                <a:gd name="T13" fmla="*/ 1101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5" h="1144">
                  <a:moveTo>
                    <a:pt x="577" y="1101"/>
                  </a:moveTo>
                  <a:cubicBezTo>
                    <a:pt x="1015" y="980"/>
                    <a:pt x="958" y="685"/>
                    <a:pt x="848" y="285"/>
                  </a:cubicBezTo>
                  <a:cubicBezTo>
                    <a:pt x="820" y="183"/>
                    <a:pt x="761" y="86"/>
                    <a:pt x="701" y="0"/>
                  </a:cubicBezTo>
                  <a:cubicBezTo>
                    <a:pt x="737" y="66"/>
                    <a:pt x="771" y="135"/>
                    <a:pt x="790" y="204"/>
                  </a:cubicBezTo>
                  <a:cubicBezTo>
                    <a:pt x="889" y="609"/>
                    <a:pt x="905" y="891"/>
                    <a:pt x="481" y="1029"/>
                  </a:cubicBezTo>
                  <a:cubicBezTo>
                    <a:pt x="349" y="1065"/>
                    <a:pt x="178" y="1062"/>
                    <a:pt x="0" y="1028"/>
                  </a:cubicBezTo>
                  <a:cubicBezTo>
                    <a:pt x="210" y="1109"/>
                    <a:pt x="420" y="1144"/>
                    <a:pt x="577" y="11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9E182076-0BC3-4F20-BD7C-E2FC65EF7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426" y="4414838"/>
              <a:ext cx="4268788" cy="2414588"/>
            </a:xfrm>
            <a:custGeom>
              <a:avLst/>
              <a:gdLst>
                <a:gd name="T0" fmla="*/ 965 w 1762"/>
                <a:gd name="T1" fmla="*/ 142 h 996"/>
                <a:gd name="T2" fmla="*/ 1762 w 1762"/>
                <a:gd name="T3" fmla="*/ 822 h 996"/>
                <a:gd name="T4" fmla="*/ 1005 w 1762"/>
                <a:gd name="T5" fmla="*/ 300 h 996"/>
                <a:gd name="T6" fmla="*/ 0 w 1762"/>
                <a:gd name="T7" fmla="*/ 996 h 996"/>
                <a:gd name="T8" fmla="*/ 965 w 1762"/>
                <a:gd name="T9" fmla="*/ 142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2" h="996">
                  <a:moveTo>
                    <a:pt x="965" y="142"/>
                  </a:moveTo>
                  <a:cubicBezTo>
                    <a:pt x="1169" y="200"/>
                    <a:pt x="1455" y="461"/>
                    <a:pt x="1762" y="822"/>
                  </a:cubicBezTo>
                  <a:cubicBezTo>
                    <a:pt x="1462" y="550"/>
                    <a:pt x="1183" y="352"/>
                    <a:pt x="1005" y="300"/>
                  </a:cubicBezTo>
                  <a:cubicBezTo>
                    <a:pt x="546" y="168"/>
                    <a:pt x="216" y="506"/>
                    <a:pt x="0" y="996"/>
                  </a:cubicBezTo>
                  <a:cubicBezTo>
                    <a:pt x="189" y="434"/>
                    <a:pt x="462" y="0"/>
                    <a:pt x="965" y="1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D02B290-6ED4-4F09-AEF1-86D0ACC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DC611A3-D08F-45DD-968F-4BF2ED49D2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0244" y="1808168"/>
            <a:ext cx="10691996" cy="4465635"/>
          </a:xfrm>
        </p:spPr>
        <p:txBody>
          <a:bodyPr numCol="2" spcCol="324000"/>
          <a:lstStyle>
            <a:lvl1pPr marL="0" indent="-104765">
              <a:spcBef>
                <a:spcPts val="269"/>
              </a:spcBef>
              <a:buClr>
                <a:schemeClr val="bg1"/>
              </a:buClr>
              <a:buSzPct val="130000"/>
              <a:buFontTx/>
              <a:buBlip>
                <a:blip r:embed="rId6"/>
              </a:buBlip>
              <a:defRPr sz="761" cap="all" spc="23" baseline="0">
                <a:solidFill>
                  <a:schemeClr val="bg1"/>
                </a:solidFill>
                <a:latin typeface="+mj-lt"/>
              </a:defRPr>
            </a:lvl1pPr>
            <a:lvl2pPr marL="0" indent="-104765">
              <a:spcBef>
                <a:spcPts val="269"/>
              </a:spcBef>
              <a:buClr>
                <a:schemeClr val="bg2"/>
              </a:buClr>
              <a:buSzPct val="130000"/>
              <a:buFontTx/>
              <a:buBlip>
                <a:blip r:embed="rId7"/>
              </a:buBlip>
              <a:defRPr sz="761" cap="all" spc="23" baseline="0">
                <a:solidFill>
                  <a:schemeClr val="bg2"/>
                </a:solidFill>
                <a:latin typeface="+mj-lt"/>
              </a:defRPr>
            </a:lvl2pPr>
            <a:lvl3pPr marL="104765" indent="0">
              <a:spcBef>
                <a:spcPts val="0"/>
              </a:spcBef>
              <a:buClr>
                <a:schemeClr val="bg1"/>
              </a:buClr>
              <a:buFont typeface="Interstate-RegularCondensed" panose="02000606030000020004" pitchFamily="2" charset="0"/>
              <a:buNone/>
              <a:defRPr sz="538">
                <a:solidFill>
                  <a:schemeClr val="bg1"/>
                </a:solidFill>
                <a:latin typeface="+mn-lt"/>
              </a:defRPr>
            </a:lvl3pPr>
            <a:lvl4pPr marL="104765" indent="0">
              <a:spcBef>
                <a:spcPts val="0"/>
              </a:spcBef>
              <a:buClr>
                <a:schemeClr val="bg1"/>
              </a:buClr>
              <a:buFont typeface="Interstate-RegularCondensed" panose="02000606030000020004" pitchFamily="2" charset="0"/>
              <a:buNone/>
              <a:defRPr sz="538">
                <a:solidFill>
                  <a:schemeClr val="bg2"/>
                </a:solidFill>
                <a:latin typeface="+mn-lt"/>
              </a:defRPr>
            </a:lvl4pPr>
            <a:lvl5pPr marL="104765" indent="0">
              <a:spcBef>
                <a:spcPts val="0"/>
              </a:spcBef>
              <a:buClr>
                <a:schemeClr val="bg1"/>
              </a:buClr>
              <a:buFont typeface="Interstate-RegularCondensed" panose="02000606030000020004" pitchFamily="2" charset="0"/>
              <a:buNone/>
              <a:defRPr sz="538">
                <a:solidFill>
                  <a:schemeClr val="bg1"/>
                </a:solidFill>
                <a:latin typeface="+mn-lt"/>
              </a:defRPr>
            </a:lvl5pPr>
            <a:lvl6pPr marL="104765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538">
                <a:solidFill>
                  <a:schemeClr val="bg1"/>
                </a:solidFill>
                <a:latin typeface="+mn-lt"/>
              </a:defRPr>
            </a:lvl6pPr>
            <a:lvl7pPr marL="104765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538">
                <a:solidFill>
                  <a:schemeClr val="bg1"/>
                </a:solidFill>
                <a:latin typeface="+mn-lt"/>
              </a:defRPr>
            </a:lvl7pPr>
            <a:lvl8pPr marL="104765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538">
                <a:solidFill>
                  <a:schemeClr val="bg1"/>
                </a:solidFill>
                <a:latin typeface="+mn-lt"/>
              </a:defRPr>
            </a:lvl8pPr>
            <a:lvl9pPr marL="104765" indent="-76759">
              <a:buFont typeface="Arial" panose="020B0604020202020204" pitchFamily="34" charset="0"/>
              <a:buChar char="•"/>
              <a:defRPr sz="53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15B96FBC-6763-4876-BDB1-62B1DEEB42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98"/>
          <a:stretch/>
        </p:blipFill>
        <p:spPr>
          <a:xfrm>
            <a:off x="9221213" y="253906"/>
            <a:ext cx="2344305" cy="834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35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E5395E-4EC7-4234-88AD-B4F00D153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651583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E5395E-4EC7-4234-88AD-B4F00D153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C640373-12A9-46AB-BB0A-B0047C6B26B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48" cy="1587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046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79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RegularCondensed" panose="02000606030000020004" pitchFamily="2" charset="0"/>
              <a:ea typeface="+mj-ea"/>
              <a:cs typeface="+mj-cs"/>
              <a:sym typeface="Interstate-RegularCondensed" panose="02000606030000020004" pitchFamily="2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E508D86-06A2-4F58-88BA-DF43F4729E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47733" y="-154417"/>
            <a:ext cx="9647999" cy="8602784"/>
            <a:chOff x="2262188" y="87313"/>
            <a:chExt cx="7561263" cy="6742113"/>
          </a:xfrm>
          <a:solidFill>
            <a:schemeClr val="bg1">
              <a:alpha val="15000"/>
            </a:schemeClr>
          </a:solidFill>
        </p:grpSpPr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8E9CD9B2-0006-4E0E-B368-AE647F21D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3216275"/>
              <a:ext cx="1160463" cy="1089025"/>
            </a:xfrm>
            <a:custGeom>
              <a:avLst/>
              <a:gdLst>
                <a:gd name="T0" fmla="*/ 293 w 479"/>
                <a:gd name="T1" fmla="*/ 417 h 449"/>
                <a:gd name="T2" fmla="*/ 450 w 479"/>
                <a:gd name="T3" fmla="*/ 166 h 449"/>
                <a:gd name="T4" fmla="*/ 186 w 479"/>
                <a:gd name="T5" fmla="*/ 32 h 449"/>
                <a:gd name="T6" fmla="*/ 29 w 479"/>
                <a:gd name="T7" fmla="*/ 282 h 449"/>
                <a:gd name="T8" fmla="*/ 293 w 479"/>
                <a:gd name="T9" fmla="*/ 41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449">
                  <a:moveTo>
                    <a:pt x="293" y="417"/>
                  </a:moveTo>
                  <a:cubicBezTo>
                    <a:pt x="409" y="385"/>
                    <a:pt x="479" y="272"/>
                    <a:pt x="450" y="166"/>
                  </a:cubicBezTo>
                  <a:cubicBezTo>
                    <a:pt x="421" y="60"/>
                    <a:pt x="302" y="0"/>
                    <a:pt x="186" y="32"/>
                  </a:cubicBezTo>
                  <a:cubicBezTo>
                    <a:pt x="71" y="64"/>
                    <a:pt x="0" y="176"/>
                    <a:pt x="29" y="282"/>
                  </a:cubicBezTo>
                  <a:cubicBezTo>
                    <a:pt x="59" y="389"/>
                    <a:pt x="177" y="449"/>
                    <a:pt x="293" y="4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85125E3A-9D41-4330-B192-A5BB8CCE3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363" y="901700"/>
              <a:ext cx="2859088" cy="4879975"/>
            </a:xfrm>
            <a:custGeom>
              <a:avLst/>
              <a:gdLst>
                <a:gd name="T0" fmla="*/ 1039 w 1180"/>
                <a:gd name="T1" fmla="*/ 0 h 2013"/>
                <a:gd name="T2" fmla="*/ 99 w 1180"/>
                <a:gd name="T3" fmla="*/ 1164 h 2013"/>
                <a:gd name="T4" fmla="*/ 1180 w 1180"/>
                <a:gd name="T5" fmla="*/ 2013 h 2013"/>
                <a:gd name="T6" fmla="*/ 284 w 1180"/>
                <a:gd name="T7" fmla="*/ 1119 h 2013"/>
                <a:gd name="T8" fmla="*/ 1039 w 1180"/>
                <a:gd name="T9" fmla="*/ 0 h 2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0" h="2013">
                  <a:moveTo>
                    <a:pt x="1039" y="0"/>
                  </a:moveTo>
                  <a:cubicBezTo>
                    <a:pt x="423" y="380"/>
                    <a:pt x="0" y="793"/>
                    <a:pt x="99" y="1164"/>
                  </a:cubicBezTo>
                  <a:cubicBezTo>
                    <a:pt x="188" y="1495"/>
                    <a:pt x="615" y="1792"/>
                    <a:pt x="1180" y="2013"/>
                  </a:cubicBezTo>
                  <a:cubicBezTo>
                    <a:pt x="713" y="1740"/>
                    <a:pt x="368" y="1419"/>
                    <a:pt x="284" y="1119"/>
                  </a:cubicBezTo>
                  <a:cubicBezTo>
                    <a:pt x="188" y="774"/>
                    <a:pt x="523" y="375"/>
                    <a:pt x="10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84A7E2F2-3DA4-43BA-B255-AA52C140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176" y="87313"/>
              <a:ext cx="5022850" cy="2533650"/>
            </a:xfrm>
            <a:custGeom>
              <a:avLst/>
              <a:gdLst>
                <a:gd name="T0" fmla="*/ 993 w 2073"/>
                <a:gd name="T1" fmla="*/ 899 h 1045"/>
                <a:gd name="T2" fmla="*/ 2073 w 2073"/>
                <a:gd name="T3" fmla="*/ 75 h 1045"/>
                <a:gd name="T4" fmla="*/ 1905 w 2073"/>
                <a:gd name="T5" fmla="*/ 230 h 1045"/>
                <a:gd name="T6" fmla="*/ 965 w 2073"/>
                <a:gd name="T7" fmla="*/ 770 h 1045"/>
                <a:gd name="T8" fmla="*/ 3 w 2073"/>
                <a:gd name="T9" fmla="*/ 0 h 1045"/>
                <a:gd name="T10" fmla="*/ 0 w 2073"/>
                <a:gd name="T11" fmla="*/ 0 h 1045"/>
                <a:gd name="T12" fmla="*/ 993 w 2073"/>
                <a:gd name="T13" fmla="*/ 899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3" h="1045">
                  <a:moveTo>
                    <a:pt x="993" y="899"/>
                  </a:moveTo>
                  <a:cubicBezTo>
                    <a:pt x="1260" y="825"/>
                    <a:pt x="1649" y="529"/>
                    <a:pt x="2073" y="75"/>
                  </a:cubicBezTo>
                  <a:cubicBezTo>
                    <a:pt x="1905" y="230"/>
                    <a:pt x="1905" y="230"/>
                    <a:pt x="1905" y="230"/>
                  </a:cubicBezTo>
                  <a:cubicBezTo>
                    <a:pt x="1530" y="557"/>
                    <a:pt x="1344" y="662"/>
                    <a:pt x="965" y="770"/>
                  </a:cubicBezTo>
                  <a:cubicBezTo>
                    <a:pt x="572" y="882"/>
                    <a:pt x="215" y="417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1" y="585"/>
                    <a:pt x="463" y="1045"/>
                    <a:pt x="993" y="8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7009E778-D38B-493E-A402-9A51E638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2188" y="587375"/>
              <a:ext cx="2459038" cy="2773363"/>
            </a:xfrm>
            <a:custGeom>
              <a:avLst/>
              <a:gdLst>
                <a:gd name="T0" fmla="*/ 577 w 1015"/>
                <a:gd name="T1" fmla="*/ 1101 h 1144"/>
                <a:gd name="T2" fmla="*/ 848 w 1015"/>
                <a:gd name="T3" fmla="*/ 285 h 1144"/>
                <a:gd name="T4" fmla="*/ 701 w 1015"/>
                <a:gd name="T5" fmla="*/ 0 h 1144"/>
                <a:gd name="T6" fmla="*/ 790 w 1015"/>
                <a:gd name="T7" fmla="*/ 204 h 1144"/>
                <a:gd name="T8" fmla="*/ 481 w 1015"/>
                <a:gd name="T9" fmla="*/ 1029 h 1144"/>
                <a:gd name="T10" fmla="*/ 0 w 1015"/>
                <a:gd name="T11" fmla="*/ 1028 h 1144"/>
                <a:gd name="T12" fmla="*/ 577 w 1015"/>
                <a:gd name="T13" fmla="*/ 1101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5" h="1144">
                  <a:moveTo>
                    <a:pt x="577" y="1101"/>
                  </a:moveTo>
                  <a:cubicBezTo>
                    <a:pt x="1015" y="980"/>
                    <a:pt x="958" y="685"/>
                    <a:pt x="848" y="285"/>
                  </a:cubicBezTo>
                  <a:cubicBezTo>
                    <a:pt x="820" y="183"/>
                    <a:pt x="761" y="86"/>
                    <a:pt x="701" y="0"/>
                  </a:cubicBezTo>
                  <a:cubicBezTo>
                    <a:pt x="737" y="66"/>
                    <a:pt x="771" y="135"/>
                    <a:pt x="790" y="204"/>
                  </a:cubicBezTo>
                  <a:cubicBezTo>
                    <a:pt x="889" y="609"/>
                    <a:pt x="905" y="891"/>
                    <a:pt x="481" y="1029"/>
                  </a:cubicBezTo>
                  <a:cubicBezTo>
                    <a:pt x="349" y="1065"/>
                    <a:pt x="178" y="1062"/>
                    <a:pt x="0" y="1028"/>
                  </a:cubicBezTo>
                  <a:cubicBezTo>
                    <a:pt x="210" y="1109"/>
                    <a:pt x="420" y="1144"/>
                    <a:pt x="577" y="11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9E182076-0BC3-4F20-BD7C-E2FC65EF7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426" y="4414838"/>
              <a:ext cx="4268788" cy="2414588"/>
            </a:xfrm>
            <a:custGeom>
              <a:avLst/>
              <a:gdLst>
                <a:gd name="T0" fmla="*/ 965 w 1762"/>
                <a:gd name="T1" fmla="*/ 142 h 996"/>
                <a:gd name="T2" fmla="*/ 1762 w 1762"/>
                <a:gd name="T3" fmla="*/ 822 h 996"/>
                <a:gd name="T4" fmla="*/ 1005 w 1762"/>
                <a:gd name="T5" fmla="*/ 300 h 996"/>
                <a:gd name="T6" fmla="*/ 0 w 1762"/>
                <a:gd name="T7" fmla="*/ 996 h 996"/>
                <a:gd name="T8" fmla="*/ 965 w 1762"/>
                <a:gd name="T9" fmla="*/ 142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2" h="996">
                  <a:moveTo>
                    <a:pt x="965" y="142"/>
                  </a:moveTo>
                  <a:cubicBezTo>
                    <a:pt x="1169" y="200"/>
                    <a:pt x="1455" y="461"/>
                    <a:pt x="1762" y="822"/>
                  </a:cubicBezTo>
                  <a:cubicBezTo>
                    <a:pt x="1462" y="550"/>
                    <a:pt x="1183" y="352"/>
                    <a:pt x="1005" y="300"/>
                  </a:cubicBezTo>
                  <a:cubicBezTo>
                    <a:pt x="546" y="168"/>
                    <a:pt x="216" y="506"/>
                    <a:pt x="0" y="996"/>
                  </a:cubicBezTo>
                  <a:cubicBezTo>
                    <a:pt x="189" y="434"/>
                    <a:pt x="462" y="0"/>
                    <a:pt x="965" y="1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D02B290-6ED4-4F09-AEF1-86D0ACC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DC611A3-D08F-45DD-968F-4BF2ED49D2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0244" y="1808168"/>
            <a:ext cx="10691996" cy="3080959"/>
          </a:xfrm>
        </p:spPr>
        <p:txBody>
          <a:bodyPr numCol="2" spcCol="324000"/>
          <a:lstStyle>
            <a:lvl1pPr marL="0" indent="-104765">
              <a:spcBef>
                <a:spcPts val="269"/>
              </a:spcBef>
              <a:buClr>
                <a:schemeClr val="bg1"/>
              </a:buClr>
              <a:buSzPct val="130000"/>
              <a:buFontTx/>
              <a:buBlip>
                <a:blip r:embed="rId6"/>
              </a:buBlip>
              <a:defRPr sz="761" cap="all" spc="23" baseline="0">
                <a:solidFill>
                  <a:schemeClr val="bg1"/>
                </a:solidFill>
                <a:latin typeface="+mj-lt"/>
              </a:defRPr>
            </a:lvl1pPr>
            <a:lvl2pPr marL="0" indent="-104765">
              <a:spcBef>
                <a:spcPts val="269"/>
              </a:spcBef>
              <a:buClr>
                <a:schemeClr val="bg2"/>
              </a:buClr>
              <a:buSzPct val="130000"/>
              <a:buFontTx/>
              <a:buBlip>
                <a:blip r:embed="rId7"/>
              </a:buBlip>
              <a:defRPr sz="761" cap="all" spc="23" baseline="0">
                <a:solidFill>
                  <a:schemeClr val="bg2"/>
                </a:solidFill>
                <a:latin typeface="+mj-lt"/>
              </a:defRPr>
            </a:lvl2pPr>
            <a:lvl3pPr marL="104765" indent="0">
              <a:spcBef>
                <a:spcPts val="0"/>
              </a:spcBef>
              <a:buClr>
                <a:schemeClr val="bg1"/>
              </a:buClr>
              <a:buFont typeface="Interstate-RegularCondensed" panose="02000606030000020004" pitchFamily="2" charset="0"/>
              <a:buNone/>
              <a:defRPr sz="538">
                <a:solidFill>
                  <a:schemeClr val="bg1"/>
                </a:solidFill>
                <a:latin typeface="+mn-lt"/>
              </a:defRPr>
            </a:lvl3pPr>
            <a:lvl4pPr marL="104765" indent="0">
              <a:spcBef>
                <a:spcPts val="0"/>
              </a:spcBef>
              <a:buClr>
                <a:schemeClr val="bg1"/>
              </a:buClr>
              <a:buFont typeface="Interstate-RegularCondensed" panose="02000606030000020004" pitchFamily="2" charset="0"/>
              <a:buNone/>
              <a:defRPr sz="538">
                <a:solidFill>
                  <a:schemeClr val="bg2"/>
                </a:solidFill>
                <a:latin typeface="+mn-lt"/>
              </a:defRPr>
            </a:lvl4pPr>
            <a:lvl5pPr marL="104765" indent="0">
              <a:spcBef>
                <a:spcPts val="0"/>
              </a:spcBef>
              <a:buClr>
                <a:schemeClr val="bg1"/>
              </a:buClr>
              <a:buFont typeface="Interstate-RegularCondensed" panose="02000606030000020004" pitchFamily="2" charset="0"/>
              <a:buNone/>
              <a:defRPr sz="538">
                <a:solidFill>
                  <a:schemeClr val="bg1"/>
                </a:solidFill>
                <a:latin typeface="+mn-lt"/>
              </a:defRPr>
            </a:lvl5pPr>
            <a:lvl6pPr marL="104765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538">
                <a:solidFill>
                  <a:schemeClr val="bg1"/>
                </a:solidFill>
                <a:latin typeface="+mn-lt"/>
              </a:defRPr>
            </a:lvl6pPr>
            <a:lvl7pPr marL="104765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538">
                <a:solidFill>
                  <a:schemeClr val="bg1"/>
                </a:solidFill>
                <a:latin typeface="+mn-lt"/>
              </a:defRPr>
            </a:lvl7pPr>
            <a:lvl8pPr marL="104765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538">
                <a:solidFill>
                  <a:schemeClr val="bg1"/>
                </a:solidFill>
                <a:latin typeface="+mn-lt"/>
              </a:defRPr>
            </a:lvl8pPr>
            <a:lvl9pPr marL="104765" indent="-76759">
              <a:buFont typeface="Arial" panose="020B0604020202020204" pitchFamily="34" charset="0"/>
              <a:buChar char="•"/>
              <a:defRPr sz="53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15B96FBC-6763-4876-BDB1-62B1DEEB42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98"/>
          <a:stretch/>
        </p:blipFill>
        <p:spPr>
          <a:xfrm>
            <a:off x="9221213" y="253906"/>
            <a:ext cx="2344305" cy="834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1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87BFBABB-63AC-4EE9-BE21-70180BA715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3127417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87BFBABB-63AC-4EE9-BE21-70180BA71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EB0F942D-7D8C-4403-B4B6-67A8718B1C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48" cy="1587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04693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807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RegularCondensed" panose="02000606030000020004" pitchFamily="2" charset="0"/>
              <a:ea typeface="+mj-ea"/>
              <a:cs typeface="+mj-cs"/>
              <a:sym typeface="Interstate-RegularCondensed" panose="02000606030000020004" pitchFamily="2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F6FCF32-B6AB-41F1-98F0-9F0C484231A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47733" y="-154417"/>
            <a:ext cx="9647999" cy="8602784"/>
            <a:chOff x="2262188" y="87313"/>
            <a:chExt cx="7561263" cy="6742113"/>
          </a:xfrm>
          <a:solidFill>
            <a:schemeClr val="bg1">
              <a:alpha val="15000"/>
            </a:schemeClr>
          </a:solidFill>
        </p:grpSpPr>
        <p:sp>
          <p:nvSpPr>
            <p:cNvPr id="6" name="Freeform 10">
              <a:extLst>
                <a:ext uri="{FF2B5EF4-FFF2-40B4-BE49-F238E27FC236}">
                  <a16:creationId xmlns:a16="http://schemas.microsoft.com/office/drawing/2014/main" id="{CBED0516-049D-4CE2-82F4-86471D873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3216275"/>
              <a:ext cx="1160463" cy="1089025"/>
            </a:xfrm>
            <a:custGeom>
              <a:avLst/>
              <a:gdLst>
                <a:gd name="T0" fmla="*/ 293 w 479"/>
                <a:gd name="T1" fmla="*/ 417 h 449"/>
                <a:gd name="T2" fmla="*/ 450 w 479"/>
                <a:gd name="T3" fmla="*/ 166 h 449"/>
                <a:gd name="T4" fmla="*/ 186 w 479"/>
                <a:gd name="T5" fmla="*/ 32 h 449"/>
                <a:gd name="T6" fmla="*/ 29 w 479"/>
                <a:gd name="T7" fmla="*/ 282 h 449"/>
                <a:gd name="T8" fmla="*/ 293 w 479"/>
                <a:gd name="T9" fmla="*/ 41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449">
                  <a:moveTo>
                    <a:pt x="293" y="417"/>
                  </a:moveTo>
                  <a:cubicBezTo>
                    <a:pt x="409" y="385"/>
                    <a:pt x="479" y="272"/>
                    <a:pt x="450" y="166"/>
                  </a:cubicBezTo>
                  <a:cubicBezTo>
                    <a:pt x="421" y="60"/>
                    <a:pt x="302" y="0"/>
                    <a:pt x="186" y="32"/>
                  </a:cubicBezTo>
                  <a:cubicBezTo>
                    <a:pt x="71" y="64"/>
                    <a:pt x="0" y="176"/>
                    <a:pt x="29" y="282"/>
                  </a:cubicBezTo>
                  <a:cubicBezTo>
                    <a:pt x="59" y="389"/>
                    <a:pt x="177" y="449"/>
                    <a:pt x="293" y="4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9D8EF149-E5EE-4710-9D3E-8718EEEF6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363" y="901700"/>
              <a:ext cx="2859088" cy="4879975"/>
            </a:xfrm>
            <a:custGeom>
              <a:avLst/>
              <a:gdLst>
                <a:gd name="T0" fmla="*/ 1039 w 1180"/>
                <a:gd name="T1" fmla="*/ 0 h 2013"/>
                <a:gd name="T2" fmla="*/ 99 w 1180"/>
                <a:gd name="T3" fmla="*/ 1164 h 2013"/>
                <a:gd name="T4" fmla="*/ 1180 w 1180"/>
                <a:gd name="T5" fmla="*/ 2013 h 2013"/>
                <a:gd name="T6" fmla="*/ 284 w 1180"/>
                <a:gd name="T7" fmla="*/ 1119 h 2013"/>
                <a:gd name="T8" fmla="*/ 1039 w 1180"/>
                <a:gd name="T9" fmla="*/ 0 h 2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0" h="2013">
                  <a:moveTo>
                    <a:pt x="1039" y="0"/>
                  </a:moveTo>
                  <a:cubicBezTo>
                    <a:pt x="423" y="380"/>
                    <a:pt x="0" y="793"/>
                    <a:pt x="99" y="1164"/>
                  </a:cubicBezTo>
                  <a:cubicBezTo>
                    <a:pt x="188" y="1495"/>
                    <a:pt x="615" y="1792"/>
                    <a:pt x="1180" y="2013"/>
                  </a:cubicBezTo>
                  <a:cubicBezTo>
                    <a:pt x="713" y="1740"/>
                    <a:pt x="368" y="1419"/>
                    <a:pt x="284" y="1119"/>
                  </a:cubicBezTo>
                  <a:cubicBezTo>
                    <a:pt x="188" y="774"/>
                    <a:pt x="523" y="375"/>
                    <a:pt x="10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B4716C25-7F79-45CA-8872-5ED8AFBAA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176" y="87313"/>
              <a:ext cx="5022850" cy="2533650"/>
            </a:xfrm>
            <a:custGeom>
              <a:avLst/>
              <a:gdLst>
                <a:gd name="T0" fmla="*/ 993 w 2073"/>
                <a:gd name="T1" fmla="*/ 899 h 1045"/>
                <a:gd name="T2" fmla="*/ 2073 w 2073"/>
                <a:gd name="T3" fmla="*/ 75 h 1045"/>
                <a:gd name="T4" fmla="*/ 1905 w 2073"/>
                <a:gd name="T5" fmla="*/ 230 h 1045"/>
                <a:gd name="T6" fmla="*/ 965 w 2073"/>
                <a:gd name="T7" fmla="*/ 770 h 1045"/>
                <a:gd name="T8" fmla="*/ 3 w 2073"/>
                <a:gd name="T9" fmla="*/ 0 h 1045"/>
                <a:gd name="T10" fmla="*/ 0 w 2073"/>
                <a:gd name="T11" fmla="*/ 0 h 1045"/>
                <a:gd name="T12" fmla="*/ 993 w 2073"/>
                <a:gd name="T13" fmla="*/ 899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3" h="1045">
                  <a:moveTo>
                    <a:pt x="993" y="899"/>
                  </a:moveTo>
                  <a:cubicBezTo>
                    <a:pt x="1260" y="825"/>
                    <a:pt x="1649" y="529"/>
                    <a:pt x="2073" y="75"/>
                  </a:cubicBezTo>
                  <a:cubicBezTo>
                    <a:pt x="1905" y="230"/>
                    <a:pt x="1905" y="230"/>
                    <a:pt x="1905" y="230"/>
                  </a:cubicBezTo>
                  <a:cubicBezTo>
                    <a:pt x="1530" y="557"/>
                    <a:pt x="1344" y="662"/>
                    <a:pt x="965" y="770"/>
                  </a:cubicBezTo>
                  <a:cubicBezTo>
                    <a:pt x="572" y="882"/>
                    <a:pt x="215" y="417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1" y="585"/>
                    <a:pt x="463" y="1045"/>
                    <a:pt x="993" y="8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0250A2AD-2789-45F5-A9A1-88B9B9A04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2188" y="587375"/>
              <a:ext cx="2459038" cy="2773363"/>
            </a:xfrm>
            <a:custGeom>
              <a:avLst/>
              <a:gdLst>
                <a:gd name="T0" fmla="*/ 577 w 1015"/>
                <a:gd name="T1" fmla="*/ 1101 h 1144"/>
                <a:gd name="T2" fmla="*/ 848 w 1015"/>
                <a:gd name="T3" fmla="*/ 285 h 1144"/>
                <a:gd name="T4" fmla="*/ 701 w 1015"/>
                <a:gd name="T5" fmla="*/ 0 h 1144"/>
                <a:gd name="T6" fmla="*/ 790 w 1015"/>
                <a:gd name="T7" fmla="*/ 204 h 1144"/>
                <a:gd name="T8" fmla="*/ 481 w 1015"/>
                <a:gd name="T9" fmla="*/ 1029 h 1144"/>
                <a:gd name="T10" fmla="*/ 0 w 1015"/>
                <a:gd name="T11" fmla="*/ 1028 h 1144"/>
                <a:gd name="T12" fmla="*/ 577 w 1015"/>
                <a:gd name="T13" fmla="*/ 1101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5" h="1144">
                  <a:moveTo>
                    <a:pt x="577" y="1101"/>
                  </a:moveTo>
                  <a:cubicBezTo>
                    <a:pt x="1015" y="980"/>
                    <a:pt x="958" y="685"/>
                    <a:pt x="848" y="285"/>
                  </a:cubicBezTo>
                  <a:cubicBezTo>
                    <a:pt x="820" y="183"/>
                    <a:pt x="761" y="86"/>
                    <a:pt x="701" y="0"/>
                  </a:cubicBezTo>
                  <a:cubicBezTo>
                    <a:pt x="737" y="66"/>
                    <a:pt x="771" y="135"/>
                    <a:pt x="790" y="204"/>
                  </a:cubicBezTo>
                  <a:cubicBezTo>
                    <a:pt x="889" y="609"/>
                    <a:pt x="905" y="891"/>
                    <a:pt x="481" y="1029"/>
                  </a:cubicBezTo>
                  <a:cubicBezTo>
                    <a:pt x="349" y="1065"/>
                    <a:pt x="178" y="1062"/>
                    <a:pt x="0" y="1028"/>
                  </a:cubicBezTo>
                  <a:cubicBezTo>
                    <a:pt x="210" y="1109"/>
                    <a:pt x="420" y="1144"/>
                    <a:pt x="577" y="11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742B1253-FC4B-4F8B-B3D7-868AA5B9C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426" y="4414838"/>
              <a:ext cx="4268788" cy="2414588"/>
            </a:xfrm>
            <a:custGeom>
              <a:avLst/>
              <a:gdLst>
                <a:gd name="T0" fmla="*/ 965 w 1762"/>
                <a:gd name="T1" fmla="*/ 142 h 996"/>
                <a:gd name="T2" fmla="*/ 1762 w 1762"/>
                <a:gd name="T3" fmla="*/ 822 h 996"/>
                <a:gd name="T4" fmla="*/ 1005 w 1762"/>
                <a:gd name="T5" fmla="*/ 300 h 996"/>
                <a:gd name="T6" fmla="*/ 0 w 1762"/>
                <a:gd name="T7" fmla="*/ 996 h 996"/>
                <a:gd name="T8" fmla="*/ 965 w 1762"/>
                <a:gd name="T9" fmla="*/ 142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2" h="996">
                  <a:moveTo>
                    <a:pt x="965" y="142"/>
                  </a:moveTo>
                  <a:cubicBezTo>
                    <a:pt x="1169" y="200"/>
                    <a:pt x="1455" y="461"/>
                    <a:pt x="1762" y="822"/>
                  </a:cubicBezTo>
                  <a:cubicBezTo>
                    <a:pt x="1462" y="550"/>
                    <a:pt x="1183" y="352"/>
                    <a:pt x="1005" y="300"/>
                  </a:cubicBezTo>
                  <a:cubicBezTo>
                    <a:pt x="546" y="168"/>
                    <a:pt x="216" y="506"/>
                    <a:pt x="0" y="996"/>
                  </a:cubicBezTo>
                  <a:cubicBezTo>
                    <a:pt x="189" y="434"/>
                    <a:pt x="462" y="0"/>
                    <a:pt x="965" y="1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</p:grpSp>
      <p:sp>
        <p:nvSpPr>
          <p:cNvPr id="11" name="Rectangle 2">
            <a:extLst>
              <a:ext uri="{FF2B5EF4-FFF2-40B4-BE49-F238E27FC236}">
                <a16:creationId xmlns:a16="http://schemas.microsoft.com/office/drawing/2014/main" id="{B612DF22-C514-41E8-9C7D-87E31958AFC2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31409" y="1844945"/>
            <a:ext cx="7200002" cy="1080000"/>
          </a:xfrm>
        </p:spPr>
        <p:txBody>
          <a:bodyPr anchor="b" anchorCtr="0"/>
          <a:lstStyle>
            <a:lvl1pPr>
              <a:lnSpc>
                <a:spcPct val="110000"/>
              </a:lnSpc>
              <a:defRPr sz="807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5BA75867-2B1F-431E-9797-C1DC7C84C40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731409" y="2924947"/>
            <a:ext cx="7200002" cy="1152001"/>
          </a:xfrm>
        </p:spPr>
        <p:txBody>
          <a:bodyPr/>
          <a:lstStyle>
            <a:lvl1pPr marL="0" indent="0">
              <a:spcBef>
                <a:spcPts val="0"/>
              </a:spcBef>
              <a:buFont typeface="Times" pitchFamily="18" charset="0"/>
              <a:buNone/>
              <a:defRPr baseline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52F50C3-B8A7-47E0-951C-FAD713EE29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F65F0D-0438-4CC1-B91D-C42FB60E70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668D48BC-A785-4004-864F-B4340C5AB1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86"/>
          <a:stretch/>
        </p:blipFill>
        <p:spPr>
          <a:xfrm>
            <a:off x="9192349" y="250268"/>
            <a:ext cx="2370977" cy="838475"/>
          </a:xfrm>
          <a:prstGeom prst="rect">
            <a:avLst/>
          </a:prstGeom>
        </p:spPr>
      </p:pic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BF52D12-D929-4006-9095-84C737FDE9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874"/>
          <a:stretch/>
        </p:blipFill>
        <p:spPr>
          <a:xfrm>
            <a:off x="9192339" y="1016736"/>
            <a:ext cx="2365253" cy="295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295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ssag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87BFBABB-63AC-4EE9-BE21-70180BA715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2818741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87BFBABB-63AC-4EE9-BE21-70180BA71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EB0F942D-7D8C-4403-B4B6-67A8718B1C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48" cy="1587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046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79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RegularCondensed" panose="02000606030000020004" pitchFamily="2" charset="0"/>
              <a:ea typeface="+mj-ea"/>
              <a:cs typeface="+mj-cs"/>
              <a:sym typeface="Interstate-RegularCondensed" panose="02000606030000020004" pitchFamily="2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F6FCF32-B6AB-41F1-98F0-9F0C484231A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47733" y="-154417"/>
            <a:ext cx="9647999" cy="8602784"/>
            <a:chOff x="2262188" y="87313"/>
            <a:chExt cx="7561263" cy="6742113"/>
          </a:xfrm>
          <a:solidFill>
            <a:schemeClr val="bg1">
              <a:alpha val="10000"/>
            </a:schemeClr>
          </a:solidFill>
        </p:grpSpPr>
        <p:sp>
          <p:nvSpPr>
            <p:cNvPr id="6" name="Freeform 10">
              <a:extLst>
                <a:ext uri="{FF2B5EF4-FFF2-40B4-BE49-F238E27FC236}">
                  <a16:creationId xmlns:a16="http://schemas.microsoft.com/office/drawing/2014/main" id="{CBED0516-049D-4CE2-82F4-86471D873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3216275"/>
              <a:ext cx="1160463" cy="1089025"/>
            </a:xfrm>
            <a:custGeom>
              <a:avLst/>
              <a:gdLst>
                <a:gd name="T0" fmla="*/ 293 w 479"/>
                <a:gd name="T1" fmla="*/ 417 h 449"/>
                <a:gd name="T2" fmla="*/ 450 w 479"/>
                <a:gd name="T3" fmla="*/ 166 h 449"/>
                <a:gd name="T4" fmla="*/ 186 w 479"/>
                <a:gd name="T5" fmla="*/ 32 h 449"/>
                <a:gd name="T6" fmla="*/ 29 w 479"/>
                <a:gd name="T7" fmla="*/ 282 h 449"/>
                <a:gd name="T8" fmla="*/ 293 w 479"/>
                <a:gd name="T9" fmla="*/ 41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449">
                  <a:moveTo>
                    <a:pt x="293" y="417"/>
                  </a:moveTo>
                  <a:cubicBezTo>
                    <a:pt x="409" y="385"/>
                    <a:pt x="479" y="272"/>
                    <a:pt x="450" y="166"/>
                  </a:cubicBezTo>
                  <a:cubicBezTo>
                    <a:pt x="421" y="60"/>
                    <a:pt x="302" y="0"/>
                    <a:pt x="186" y="32"/>
                  </a:cubicBezTo>
                  <a:cubicBezTo>
                    <a:pt x="71" y="64"/>
                    <a:pt x="0" y="176"/>
                    <a:pt x="29" y="282"/>
                  </a:cubicBezTo>
                  <a:cubicBezTo>
                    <a:pt x="59" y="389"/>
                    <a:pt x="177" y="449"/>
                    <a:pt x="293" y="4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9D8EF149-E5EE-4710-9D3E-8718EEEF6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363" y="901700"/>
              <a:ext cx="2859088" cy="4879975"/>
            </a:xfrm>
            <a:custGeom>
              <a:avLst/>
              <a:gdLst>
                <a:gd name="T0" fmla="*/ 1039 w 1180"/>
                <a:gd name="T1" fmla="*/ 0 h 2013"/>
                <a:gd name="T2" fmla="*/ 99 w 1180"/>
                <a:gd name="T3" fmla="*/ 1164 h 2013"/>
                <a:gd name="T4" fmla="*/ 1180 w 1180"/>
                <a:gd name="T5" fmla="*/ 2013 h 2013"/>
                <a:gd name="T6" fmla="*/ 284 w 1180"/>
                <a:gd name="T7" fmla="*/ 1119 h 2013"/>
                <a:gd name="T8" fmla="*/ 1039 w 1180"/>
                <a:gd name="T9" fmla="*/ 0 h 2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0" h="2013">
                  <a:moveTo>
                    <a:pt x="1039" y="0"/>
                  </a:moveTo>
                  <a:cubicBezTo>
                    <a:pt x="423" y="380"/>
                    <a:pt x="0" y="793"/>
                    <a:pt x="99" y="1164"/>
                  </a:cubicBezTo>
                  <a:cubicBezTo>
                    <a:pt x="188" y="1495"/>
                    <a:pt x="615" y="1792"/>
                    <a:pt x="1180" y="2013"/>
                  </a:cubicBezTo>
                  <a:cubicBezTo>
                    <a:pt x="713" y="1740"/>
                    <a:pt x="368" y="1419"/>
                    <a:pt x="284" y="1119"/>
                  </a:cubicBezTo>
                  <a:cubicBezTo>
                    <a:pt x="188" y="774"/>
                    <a:pt x="523" y="375"/>
                    <a:pt x="10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B4716C25-7F79-45CA-8872-5ED8AFBAA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176" y="87313"/>
              <a:ext cx="5022850" cy="2533650"/>
            </a:xfrm>
            <a:custGeom>
              <a:avLst/>
              <a:gdLst>
                <a:gd name="T0" fmla="*/ 993 w 2073"/>
                <a:gd name="T1" fmla="*/ 899 h 1045"/>
                <a:gd name="T2" fmla="*/ 2073 w 2073"/>
                <a:gd name="T3" fmla="*/ 75 h 1045"/>
                <a:gd name="T4" fmla="*/ 1905 w 2073"/>
                <a:gd name="T5" fmla="*/ 230 h 1045"/>
                <a:gd name="T6" fmla="*/ 965 w 2073"/>
                <a:gd name="T7" fmla="*/ 770 h 1045"/>
                <a:gd name="T8" fmla="*/ 3 w 2073"/>
                <a:gd name="T9" fmla="*/ 0 h 1045"/>
                <a:gd name="T10" fmla="*/ 0 w 2073"/>
                <a:gd name="T11" fmla="*/ 0 h 1045"/>
                <a:gd name="T12" fmla="*/ 993 w 2073"/>
                <a:gd name="T13" fmla="*/ 899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3" h="1045">
                  <a:moveTo>
                    <a:pt x="993" y="899"/>
                  </a:moveTo>
                  <a:cubicBezTo>
                    <a:pt x="1260" y="825"/>
                    <a:pt x="1649" y="529"/>
                    <a:pt x="2073" y="75"/>
                  </a:cubicBezTo>
                  <a:cubicBezTo>
                    <a:pt x="1905" y="230"/>
                    <a:pt x="1905" y="230"/>
                    <a:pt x="1905" y="230"/>
                  </a:cubicBezTo>
                  <a:cubicBezTo>
                    <a:pt x="1530" y="557"/>
                    <a:pt x="1344" y="662"/>
                    <a:pt x="965" y="770"/>
                  </a:cubicBezTo>
                  <a:cubicBezTo>
                    <a:pt x="572" y="882"/>
                    <a:pt x="215" y="417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1" y="585"/>
                    <a:pt x="463" y="1045"/>
                    <a:pt x="993" y="8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0250A2AD-2789-45F5-A9A1-88B9B9A04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2188" y="587375"/>
              <a:ext cx="2459038" cy="2773363"/>
            </a:xfrm>
            <a:custGeom>
              <a:avLst/>
              <a:gdLst>
                <a:gd name="T0" fmla="*/ 577 w 1015"/>
                <a:gd name="T1" fmla="*/ 1101 h 1144"/>
                <a:gd name="T2" fmla="*/ 848 w 1015"/>
                <a:gd name="T3" fmla="*/ 285 h 1144"/>
                <a:gd name="T4" fmla="*/ 701 w 1015"/>
                <a:gd name="T5" fmla="*/ 0 h 1144"/>
                <a:gd name="T6" fmla="*/ 790 w 1015"/>
                <a:gd name="T7" fmla="*/ 204 h 1144"/>
                <a:gd name="T8" fmla="*/ 481 w 1015"/>
                <a:gd name="T9" fmla="*/ 1029 h 1144"/>
                <a:gd name="T10" fmla="*/ 0 w 1015"/>
                <a:gd name="T11" fmla="*/ 1028 h 1144"/>
                <a:gd name="T12" fmla="*/ 577 w 1015"/>
                <a:gd name="T13" fmla="*/ 1101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5" h="1144">
                  <a:moveTo>
                    <a:pt x="577" y="1101"/>
                  </a:moveTo>
                  <a:cubicBezTo>
                    <a:pt x="1015" y="980"/>
                    <a:pt x="958" y="685"/>
                    <a:pt x="848" y="285"/>
                  </a:cubicBezTo>
                  <a:cubicBezTo>
                    <a:pt x="820" y="183"/>
                    <a:pt x="761" y="86"/>
                    <a:pt x="701" y="0"/>
                  </a:cubicBezTo>
                  <a:cubicBezTo>
                    <a:pt x="737" y="66"/>
                    <a:pt x="771" y="135"/>
                    <a:pt x="790" y="204"/>
                  </a:cubicBezTo>
                  <a:cubicBezTo>
                    <a:pt x="889" y="609"/>
                    <a:pt x="905" y="891"/>
                    <a:pt x="481" y="1029"/>
                  </a:cubicBezTo>
                  <a:cubicBezTo>
                    <a:pt x="349" y="1065"/>
                    <a:pt x="178" y="1062"/>
                    <a:pt x="0" y="1028"/>
                  </a:cubicBezTo>
                  <a:cubicBezTo>
                    <a:pt x="210" y="1109"/>
                    <a:pt x="420" y="1144"/>
                    <a:pt x="577" y="11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742B1253-FC4B-4F8B-B3D7-868AA5B9C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426" y="4414838"/>
              <a:ext cx="4268788" cy="2414588"/>
            </a:xfrm>
            <a:custGeom>
              <a:avLst/>
              <a:gdLst>
                <a:gd name="T0" fmla="*/ 965 w 1762"/>
                <a:gd name="T1" fmla="*/ 142 h 996"/>
                <a:gd name="T2" fmla="*/ 1762 w 1762"/>
                <a:gd name="T3" fmla="*/ 822 h 996"/>
                <a:gd name="T4" fmla="*/ 1005 w 1762"/>
                <a:gd name="T5" fmla="*/ 300 h 996"/>
                <a:gd name="T6" fmla="*/ 0 w 1762"/>
                <a:gd name="T7" fmla="*/ 996 h 996"/>
                <a:gd name="T8" fmla="*/ 965 w 1762"/>
                <a:gd name="T9" fmla="*/ 142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2" h="996">
                  <a:moveTo>
                    <a:pt x="965" y="142"/>
                  </a:moveTo>
                  <a:cubicBezTo>
                    <a:pt x="1169" y="200"/>
                    <a:pt x="1455" y="461"/>
                    <a:pt x="1762" y="822"/>
                  </a:cubicBezTo>
                  <a:cubicBezTo>
                    <a:pt x="1462" y="550"/>
                    <a:pt x="1183" y="352"/>
                    <a:pt x="1005" y="300"/>
                  </a:cubicBezTo>
                  <a:cubicBezTo>
                    <a:pt x="546" y="168"/>
                    <a:pt x="216" y="506"/>
                    <a:pt x="0" y="996"/>
                  </a:cubicBezTo>
                  <a:cubicBezTo>
                    <a:pt x="189" y="434"/>
                    <a:pt x="462" y="0"/>
                    <a:pt x="965" y="1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52F50C3-B8A7-47E0-951C-FAD713EE29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F65F0D-0438-4CC1-B91D-C42FB60E70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52F5E0E-8365-43B8-BF7C-08D138BF30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98"/>
          <a:stretch/>
        </p:blipFill>
        <p:spPr>
          <a:xfrm>
            <a:off x="9221213" y="253906"/>
            <a:ext cx="2344305" cy="834836"/>
          </a:xfrm>
          <a:prstGeom prst="rect">
            <a:avLst/>
          </a:prstGeom>
        </p:spPr>
      </p:pic>
      <p:sp>
        <p:nvSpPr>
          <p:cNvPr id="16" name="Textplatzhalter 17">
            <a:extLst>
              <a:ext uri="{FF2B5EF4-FFF2-40B4-BE49-F238E27FC236}">
                <a16:creationId xmlns:a16="http://schemas.microsoft.com/office/drawing/2014/main" id="{C52A2B95-DADF-4F4C-8FA5-EA2F0EF5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1840" y="2161536"/>
            <a:ext cx="8304211" cy="395964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8">
                <a:solidFill>
                  <a:schemeClr val="accent3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8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76">
                <a:solidFill>
                  <a:schemeClr val="accent3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76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985">
                <a:solidFill>
                  <a:schemeClr val="accent3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85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4">
                <a:solidFill>
                  <a:schemeClr val="accent3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4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4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12468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92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ssag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87BFBABB-63AC-4EE9-BE21-70180BA715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174097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87BFBABB-63AC-4EE9-BE21-70180BA71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EB0F942D-7D8C-4403-B4B6-67A8718B1C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48" cy="1587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046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79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RegularCondensed" panose="02000606030000020004" pitchFamily="2" charset="0"/>
              <a:ea typeface="+mj-ea"/>
              <a:cs typeface="+mj-cs"/>
              <a:sym typeface="Interstate-RegularCondensed" panose="02000606030000020004" pitchFamily="2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F6FCF32-B6AB-41F1-98F0-9F0C484231A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47733" y="-154417"/>
            <a:ext cx="9647999" cy="8602784"/>
            <a:chOff x="2262188" y="87313"/>
            <a:chExt cx="7561263" cy="6742113"/>
          </a:xfrm>
          <a:solidFill>
            <a:schemeClr val="bg1">
              <a:alpha val="15000"/>
            </a:schemeClr>
          </a:solidFill>
        </p:grpSpPr>
        <p:sp>
          <p:nvSpPr>
            <p:cNvPr id="6" name="Freeform 10">
              <a:extLst>
                <a:ext uri="{FF2B5EF4-FFF2-40B4-BE49-F238E27FC236}">
                  <a16:creationId xmlns:a16="http://schemas.microsoft.com/office/drawing/2014/main" id="{CBED0516-049D-4CE2-82F4-86471D873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3216275"/>
              <a:ext cx="1160463" cy="1089025"/>
            </a:xfrm>
            <a:custGeom>
              <a:avLst/>
              <a:gdLst>
                <a:gd name="T0" fmla="*/ 293 w 479"/>
                <a:gd name="T1" fmla="*/ 417 h 449"/>
                <a:gd name="T2" fmla="*/ 450 w 479"/>
                <a:gd name="T3" fmla="*/ 166 h 449"/>
                <a:gd name="T4" fmla="*/ 186 w 479"/>
                <a:gd name="T5" fmla="*/ 32 h 449"/>
                <a:gd name="T6" fmla="*/ 29 w 479"/>
                <a:gd name="T7" fmla="*/ 282 h 449"/>
                <a:gd name="T8" fmla="*/ 293 w 479"/>
                <a:gd name="T9" fmla="*/ 41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449">
                  <a:moveTo>
                    <a:pt x="293" y="417"/>
                  </a:moveTo>
                  <a:cubicBezTo>
                    <a:pt x="409" y="385"/>
                    <a:pt x="479" y="272"/>
                    <a:pt x="450" y="166"/>
                  </a:cubicBezTo>
                  <a:cubicBezTo>
                    <a:pt x="421" y="60"/>
                    <a:pt x="302" y="0"/>
                    <a:pt x="186" y="32"/>
                  </a:cubicBezTo>
                  <a:cubicBezTo>
                    <a:pt x="71" y="64"/>
                    <a:pt x="0" y="176"/>
                    <a:pt x="29" y="282"/>
                  </a:cubicBezTo>
                  <a:cubicBezTo>
                    <a:pt x="59" y="389"/>
                    <a:pt x="177" y="449"/>
                    <a:pt x="293" y="4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9D8EF149-E5EE-4710-9D3E-8718EEEF6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363" y="901700"/>
              <a:ext cx="2859088" cy="4879975"/>
            </a:xfrm>
            <a:custGeom>
              <a:avLst/>
              <a:gdLst>
                <a:gd name="T0" fmla="*/ 1039 w 1180"/>
                <a:gd name="T1" fmla="*/ 0 h 2013"/>
                <a:gd name="T2" fmla="*/ 99 w 1180"/>
                <a:gd name="T3" fmla="*/ 1164 h 2013"/>
                <a:gd name="T4" fmla="*/ 1180 w 1180"/>
                <a:gd name="T5" fmla="*/ 2013 h 2013"/>
                <a:gd name="T6" fmla="*/ 284 w 1180"/>
                <a:gd name="T7" fmla="*/ 1119 h 2013"/>
                <a:gd name="T8" fmla="*/ 1039 w 1180"/>
                <a:gd name="T9" fmla="*/ 0 h 2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0" h="2013">
                  <a:moveTo>
                    <a:pt x="1039" y="0"/>
                  </a:moveTo>
                  <a:cubicBezTo>
                    <a:pt x="423" y="380"/>
                    <a:pt x="0" y="793"/>
                    <a:pt x="99" y="1164"/>
                  </a:cubicBezTo>
                  <a:cubicBezTo>
                    <a:pt x="188" y="1495"/>
                    <a:pt x="615" y="1792"/>
                    <a:pt x="1180" y="2013"/>
                  </a:cubicBezTo>
                  <a:cubicBezTo>
                    <a:pt x="713" y="1740"/>
                    <a:pt x="368" y="1419"/>
                    <a:pt x="284" y="1119"/>
                  </a:cubicBezTo>
                  <a:cubicBezTo>
                    <a:pt x="188" y="774"/>
                    <a:pt x="523" y="375"/>
                    <a:pt x="10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B4716C25-7F79-45CA-8872-5ED8AFBAA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176" y="87313"/>
              <a:ext cx="5022850" cy="2533650"/>
            </a:xfrm>
            <a:custGeom>
              <a:avLst/>
              <a:gdLst>
                <a:gd name="T0" fmla="*/ 993 w 2073"/>
                <a:gd name="T1" fmla="*/ 899 h 1045"/>
                <a:gd name="T2" fmla="*/ 2073 w 2073"/>
                <a:gd name="T3" fmla="*/ 75 h 1045"/>
                <a:gd name="T4" fmla="*/ 1905 w 2073"/>
                <a:gd name="T5" fmla="*/ 230 h 1045"/>
                <a:gd name="T6" fmla="*/ 965 w 2073"/>
                <a:gd name="T7" fmla="*/ 770 h 1045"/>
                <a:gd name="T8" fmla="*/ 3 w 2073"/>
                <a:gd name="T9" fmla="*/ 0 h 1045"/>
                <a:gd name="T10" fmla="*/ 0 w 2073"/>
                <a:gd name="T11" fmla="*/ 0 h 1045"/>
                <a:gd name="T12" fmla="*/ 993 w 2073"/>
                <a:gd name="T13" fmla="*/ 899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3" h="1045">
                  <a:moveTo>
                    <a:pt x="993" y="899"/>
                  </a:moveTo>
                  <a:cubicBezTo>
                    <a:pt x="1260" y="825"/>
                    <a:pt x="1649" y="529"/>
                    <a:pt x="2073" y="75"/>
                  </a:cubicBezTo>
                  <a:cubicBezTo>
                    <a:pt x="1905" y="230"/>
                    <a:pt x="1905" y="230"/>
                    <a:pt x="1905" y="230"/>
                  </a:cubicBezTo>
                  <a:cubicBezTo>
                    <a:pt x="1530" y="557"/>
                    <a:pt x="1344" y="662"/>
                    <a:pt x="965" y="770"/>
                  </a:cubicBezTo>
                  <a:cubicBezTo>
                    <a:pt x="572" y="882"/>
                    <a:pt x="215" y="417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1" y="585"/>
                    <a:pt x="463" y="1045"/>
                    <a:pt x="993" y="8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0250A2AD-2789-45F5-A9A1-88B9B9A04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2188" y="587375"/>
              <a:ext cx="2459038" cy="2773363"/>
            </a:xfrm>
            <a:custGeom>
              <a:avLst/>
              <a:gdLst>
                <a:gd name="T0" fmla="*/ 577 w 1015"/>
                <a:gd name="T1" fmla="*/ 1101 h 1144"/>
                <a:gd name="T2" fmla="*/ 848 w 1015"/>
                <a:gd name="T3" fmla="*/ 285 h 1144"/>
                <a:gd name="T4" fmla="*/ 701 w 1015"/>
                <a:gd name="T5" fmla="*/ 0 h 1144"/>
                <a:gd name="T6" fmla="*/ 790 w 1015"/>
                <a:gd name="T7" fmla="*/ 204 h 1144"/>
                <a:gd name="T8" fmla="*/ 481 w 1015"/>
                <a:gd name="T9" fmla="*/ 1029 h 1144"/>
                <a:gd name="T10" fmla="*/ 0 w 1015"/>
                <a:gd name="T11" fmla="*/ 1028 h 1144"/>
                <a:gd name="T12" fmla="*/ 577 w 1015"/>
                <a:gd name="T13" fmla="*/ 1101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5" h="1144">
                  <a:moveTo>
                    <a:pt x="577" y="1101"/>
                  </a:moveTo>
                  <a:cubicBezTo>
                    <a:pt x="1015" y="980"/>
                    <a:pt x="958" y="685"/>
                    <a:pt x="848" y="285"/>
                  </a:cubicBezTo>
                  <a:cubicBezTo>
                    <a:pt x="820" y="183"/>
                    <a:pt x="761" y="86"/>
                    <a:pt x="701" y="0"/>
                  </a:cubicBezTo>
                  <a:cubicBezTo>
                    <a:pt x="737" y="66"/>
                    <a:pt x="771" y="135"/>
                    <a:pt x="790" y="204"/>
                  </a:cubicBezTo>
                  <a:cubicBezTo>
                    <a:pt x="889" y="609"/>
                    <a:pt x="905" y="891"/>
                    <a:pt x="481" y="1029"/>
                  </a:cubicBezTo>
                  <a:cubicBezTo>
                    <a:pt x="349" y="1065"/>
                    <a:pt x="178" y="1062"/>
                    <a:pt x="0" y="1028"/>
                  </a:cubicBezTo>
                  <a:cubicBezTo>
                    <a:pt x="210" y="1109"/>
                    <a:pt x="420" y="1144"/>
                    <a:pt x="577" y="11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742B1253-FC4B-4F8B-B3D7-868AA5B9C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426" y="4414838"/>
              <a:ext cx="4268788" cy="2414588"/>
            </a:xfrm>
            <a:custGeom>
              <a:avLst/>
              <a:gdLst>
                <a:gd name="T0" fmla="*/ 965 w 1762"/>
                <a:gd name="T1" fmla="*/ 142 h 996"/>
                <a:gd name="T2" fmla="*/ 1762 w 1762"/>
                <a:gd name="T3" fmla="*/ 822 h 996"/>
                <a:gd name="T4" fmla="*/ 1005 w 1762"/>
                <a:gd name="T5" fmla="*/ 300 h 996"/>
                <a:gd name="T6" fmla="*/ 0 w 1762"/>
                <a:gd name="T7" fmla="*/ 996 h 996"/>
                <a:gd name="T8" fmla="*/ 965 w 1762"/>
                <a:gd name="T9" fmla="*/ 142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2" h="996">
                  <a:moveTo>
                    <a:pt x="965" y="142"/>
                  </a:moveTo>
                  <a:cubicBezTo>
                    <a:pt x="1169" y="200"/>
                    <a:pt x="1455" y="461"/>
                    <a:pt x="1762" y="822"/>
                  </a:cubicBezTo>
                  <a:cubicBezTo>
                    <a:pt x="1462" y="550"/>
                    <a:pt x="1183" y="352"/>
                    <a:pt x="1005" y="300"/>
                  </a:cubicBezTo>
                  <a:cubicBezTo>
                    <a:pt x="546" y="168"/>
                    <a:pt x="216" y="506"/>
                    <a:pt x="0" y="996"/>
                  </a:cubicBezTo>
                  <a:cubicBezTo>
                    <a:pt x="189" y="434"/>
                    <a:pt x="462" y="0"/>
                    <a:pt x="965" y="1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96CA2775-CD64-4A1A-ABCA-37BD30BFC484}"/>
              </a:ext>
            </a:extLst>
          </p:cNvPr>
          <p:cNvSpPr/>
          <p:nvPr userDrawn="1"/>
        </p:nvSpPr>
        <p:spPr bwMode="auto">
          <a:xfrm>
            <a:off x="5" y="6516580"/>
            <a:ext cx="12192000" cy="3414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454" tIns="10227" rIns="20454" bIns="10227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046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79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LightCondensed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52F50C3-B8A7-47E0-951C-FAD713EE29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F65F0D-0438-4CC1-B91D-C42FB60E70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52F5E0E-8365-43B8-BF7C-08D138BF30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98"/>
          <a:stretch/>
        </p:blipFill>
        <p:spPr>
          <a:xfrm>
            <a:off x="9221213" y="253906"/>
            <a:ext cx="2344305" cy="834836"/>
          </a:xfrm>
          <a:prstGeom prst="rect">
            <a:avLst/>
          </a:prstGeom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22C767E-0690-4D2C-8E7B-38E9DA901CD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1840" y="2161536"/>
            <a:ext cx="8304211" cy="395964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8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8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76">
                <a:solidFill>
                  <a:schemeClr val="bg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76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985">
                <a:solidFill>
                  <a:schemeClr val="bg2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85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4">
                <a:solidFill>
                  <a:schemeClr val="bg2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4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4">
                <a:solidFill>
                  <a:schemeClr val="bg2"/>
                </a:solidFill>
                <a:latin typeface="+mj-lt"/>
              </a:defRPr>
            </a:lvl9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3570867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92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ssage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87BFBABB-63AC-4EE9-BE21-70180BA715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751185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87BFBABB-63AC-4EE9-BE21-70180BA71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EB0F942D-7D8C-4403-B4B6-67A8718B1C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48" cy="1587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046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79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RegularCondensed" panose="02000606030000020004" pitchFamily="2" charset="0"/>
              <a:ea typeface="+mj-ea"/>
              <a:cs typeface="+mj-cs"/>
              <a:sym typeface="Interstate-RegularCondensed" panose="02000606030000020004" pitchFamily="2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F6FCF32-B6AB-41F1-98F0-9F0C484231A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47733" y="-154417"/>
            <a:ext cx="9647999" cy="8602784"/>
            <a:chOff x="2262188" y="87313"/>
            <a:chExt cx="7561263" cy="6742113"/>
          </a:xfrm>
          <a:solidFill>
            <a:schemeClr val="bg1">
              <a:alpha val="15000"/>
            </a:schemeClr>
          </a:solidFill>
        </p:grpSpPr>
        <p:sp>
          <p:nvSpPr>
            <p:cNvPr id="6" name="Freeform 10">
              <a:extLst>
                <a:ext uri="{FF2B5EF4-FFF2-40B4-BE49-F238E27FC236}">
                  <a16:creationId xmlns:a16="http://schemas.microsoft.com/office/drawing/2014/main" id="{CBED0516-049D-4CE2-82F4-86471D873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3216275"/>
              <a:ext cx="1160463" cy="1089025"/>
            </a:xfrm>
            <a:custGeom>
              <a:avLst/>
              <a:gdLst>
                <a:gd name="T0" fmla="*/ 293 w 479"/>
                <a:gd name="T1" fmla="*/ 417 h 449"/>
                <a:gd name="T2" fmla="*/ 450 w 479"/>
                <a:gd name="T3" fmla="*/ 166 h 449"/>
                <a:gd name="T4" fmla="*/ 186 w 479"/>
                <a:gd name="T5" fmla="*/ 32 h 449"/>
                <a:gd name="T6" fmla="*/ 29 w 479"/>
                <a:gd name="T7" fmla="*/ 282 h 449"/>
                <a:gd name="T8" fmla="*/ 293 w 479"/>
                <a:gd name="T9" fmla="*/ 41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449">
                  <a:moveTo>
                    <a:pt x="293" y="417"/>
                  </a:moveTo>
                  <a:cubicBezTo>
                    <a:pt x="409" y="385"/>
                    <a:pt x="479" y="272"/>
                    <a:pt x="450" y="166"/>
                  </a:cubicBezTo>
                  <a:cubicBezTo>
                    <a:pt x="421" y="60"/>
                    <a:pt x="302" y="0"/>
                    <a:pt x="186" y="32"/>
                  </a:cubicBezTo>
                  <a:cubicBezTo>
                    <a:pt x="71" y="64"/>
                    <a:pt x="0" y="176"/>
                    <a:pt x="29" y="282"/>
                  </a:cubicBezTo>
                  <a:cubicBezTo>
                    <a:pt x="59" y="389"/>
                    <a:pt x="177" y="449"/>
                    <a:pt x="293" y="4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9D8EF149-E5EE-4710-9D3E-8718EEEF6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363" y="901700"/>
              <a:ext cx="2859088" cy="4879975"/>
            </a:xfrm>
            <a:custGeom>
              <a:avLst/>
              <a:gdLst>
                <a:gd name="T0" fmla="*/ 1039 w 1180"/>
                <a:gd name="T1" fmla="*/ 0 h 2013"/>
                <a:gd name="T2" fmla="*/ 99 w 1180"/>
                <a:gd name="T3" fmla="*/ 1164 h 2013"/>
                <a:gd name="T4" fmla="*/ 1180 w 1180"/>
                <a:gd name="T5" fmla="*/ 2013 h 2013"/>
                <a:gd name="T6" fmla="*/ 284 w 1180"/>
                <a:gd name="T7" fmla="*/ 1119 h 2013"/>
                <a:gd name="T8" fmla="*/ 1039 w 1180"/>
                <a:gd name="T9" fmla="*/ 0 h 2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0" h="2013">
                  <a:moveTo>
                    <a:pt x="1039" y="0"/>
                  </a:moveTo>
                  <a:cubicBezTo>
                    <a:pt x="423" y="380"/>
                    <a:pt x="0" y="793"/>
                    <a:pt x="99" y="1164"/>
                  </a:cubicBezTo>
                  <a:cubicBezTo>
                    <a:pt x="188" y="1495"/>
                    <a:pt x="615" y="1792"/>
                    <a:pt x="1180" y="2013"/>
                  </a:cubicBezTo>
                  <a:cubicBezTo>
                    <a:pt x="713" y="1740"/>
                    <a:pt x="368" y="1419"/>
                    <a:pt x="284" y="1119"/>
                  </a:cubicBezTo>
                  <a:cubicBezTo>
                    <a:pt x="188" y="774"/>
                    <a:pt x="523" y="375"/>
                    <a:pt x="10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B4716C25-7F79-45CA-8872-5ED8AFBAA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176" y="87313"/>
              <a:ext cx="5022850" cy="2533650"/>
            </a:xfrm>
            <a:custGeom>
              <a:avLst/>
              <a:gdLst>
                <a:gd name="T0" fmla="*/ 993 w 2073"/>
                <a:gd name="T1" fmla="*/ 899 h 1045"/>
                <a:gd name="T2" fmla="*/ 2073 w 2073"/>
                <a:gd name="T3" fmla="*/ 75 h 1045"/>
                <a:gd name="T4" fmla="*/ 1905 w 2073"/>
                <a:gd name="T5" fmla="*/ 230 h 1045"/>
                <a:gd name="T6" fmla="*/ 965 w 2073"/>
                <a:gd name="T7" fmla="*/ 770 h 1045"/>
                <a:gd name="T8" fmla="*/ 3 w 2073"/>
                <a:gd name="T9" fmla="*/ 0 h 1045"/>
                <a:gd name="T10" fmla="*/ 0 w 2073"/>
                <a:gd name="T11" fmla="*/ 0 h 1045"/>
                <a:gd name="T12" fmla="*/ 993 w 2073"/>
                <a:gd name="T13" fmla="*/ 899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3" h="1045">
                  <a:moveTo>
                    <a:pt x="993" y="899"/>
                  </a:moveTo>
                  <a:cubicBezTo>
                    <a:pt x="1260" y="825"/>
                    <a:pt x="1649" y="529"/>
                    <a:pt x="2073" y="75"/>
                  </a:cubicBezTo>
                  <a:cubicBezTo>
                    <a:pt x="1905" y="230"/>
                    <a:pt x="1905" y="230"/>
                    <a:pt x="1905" y="230"/>
                  </a:cubicBezTo>
                  <a:cubicBezTo>
                    <a:pt x="1530" y="557"/>
                    <a:pt x="1344" y="662"/>
                    <a:pt x="965" y="770"/>
                  </a:cubicBezTo>
                  <a:cubicBezTo>
                    <a:pt x="572" y="882"/>
                    <a:pt x="215" y="417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1" y="585"/>
                    <a:pt x="463" y="1045"/>
                    <a:pt x="993" y="8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0250A2AD-2789-45F5-A9A1-88B9B9A04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2188" y="587375"/>
              <a:ext cx="2459038" cy="2773363"/>
            </a:xfrm>
            <a:custGeom>
              <a:avLst/>
              <a:gdLst>
                <a:gd name="T0" fmla="*/ 577 w 1015"/>
                <a:gd name="T1" fmla="*/ 1101 h 1144"/>
                <a:gd name="T2" fmla="*/ 848 w 1015"/>
                <a:gd name="T3" fmla="*/ 285 h 1144"/>
                <a:gd name="T4" fmla="*/ 701 w 1015"/>
                <a:gd name="T5" fmla="*/ 0 h 1144"/>
                <a:gd name="T6" fmla="*/ 790 w 1015"/>
                <a:gd name="T7" fmla="*/ 204 h 1144"/>
                <a:gd name="T8" fmla="*/ 481 w 1015"/>
                <a:gd name="T9" fmla="*/ 1029 h 1144"/>
                <a:gd name="T10" fmla="*/ 0 w 1015"/>
                <a:gd name="T11" fmla="*/ 1028 h 1144"/>
                <a:gd name="T12" fmla="*/ 577 w 1015"/>
                <a:gd name="T13" fmla="*/ 1101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5" h="1144">
                  <a:moveTo>
                    <a:pt x="577" y="1101"/>
                  </a:moveTo>
                  <a:cubicBezTo>
                    <a:pt x="1015" y="980"/>
                    <a:pt x="958" y="685"/>
                    <a:pt x="848" y="285"/>
                  </a:cubicBezTo>
                  <a:cubicBezTo>
                    <a:pt x="820" y="183"/>
                    <a:pt x="761" y="86"/>
                    <a:pt x="701" y="0"/>
                  </a:cubicBezTo>
                  <a:cubicBezTo>
                    <a:pt x="737" y="66"/>
                    <a:pt x="771" y="135"/>
                    <a:pt x="790" y="204"/>
                  </a:cubicBezTo>
                  <a:cubicBezTo>
                    <a:pt x="889" y="609"/>
                    <a:pt x="905" y="891"/>
                    <a:pt x="481" y="1029"/>
                  </a:cubicBezTo>
                  <a:cubicBezTo>
                    <a:pt x="349" y="1065"/>
                    <a:pt x="178" y="1062"/>
                    <a:pt x="0" y="1028"/>
                  </a:cubicBezTo>
                  <a:cubicBezTo>
                    <a:pt x="210" y="1109"/>
                    <a:pt x="420" y="1144"/>
                    <a:pt x="577" y="11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742B1253-FC4B-4F8B-B3D7-868AA5B9C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426" y="4414838"/>
              <a:ext cx="4268788" cy="2414588"/>
            </a:xfrm>
            <a:custGeom>
              <a:avLst/>
              <a:gdLst>
                <a:gd name="T0" fmla="*/ 965 w 1762"/>
                <a:gd name="T1" fmla="*/ 142 h 996"/>
                <a:gd name="T2" fmla="*/ 1762 w 1762"/>
                <a:gd name="T3" fmla="*/ 822 h 996"/>
                <a:gd name="T4" fmla="*/ 1005 w 1762"/>
                <a:gd name="T5" fmla="*/ 300 h 996"/>
                <a:gd name="T6" fmla="*/ 0 w 1762"/>
                <a:gd name="T7" fmla="*/ 996 h 996"/>
                <a:gd name="T8" fmla="*/ 965 w 1762"/>
                <a:gd name="T9" fmla="*/ 142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2" h="996">
                  <a:moveTo>
                    <a:pt x="965" y="142"/>
                  </a:moveTo>
                  <a:cubicBezTo>
                    <a:pt x="1169" y="200"/>
                    <a:pt x="1455" y="461"/>
                    <a:pt x="1762" y="822"/>
                  </a:cubicBezTo>
                  <a:cubicBezTo>
                    <a:pt x="1462" y="550"/>
                    <a:pt x="1183" y="352"/>
                    <a:pt x="1005" y="300"/>
                  </a:cubicBezTo>
                  <a:cubicBezTo>
                    <a:pt x="546" y="168"/>
                    <a:pt x="216" y="506"/>
                    <a:pt x="0" y="996"/>
                  </a:cubicBezTo>
                  <a:cubicBezTo>
                    <a:pt x="189" y="434"/>
                    <a:pt x="462" y="0"/>
                    <a:pt x="965" y="1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38"/>
            </a:p>
          </p:txBody>
        </p:sp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96CA2775-CD64-4A1A-ABCA-37BD30BFC484}"/>
              </a:ext>
            </a:extLst>
          </p:cNvPr>
          <p:cNvSpPr/>
          <p:nvPr userDrawn="1"/>
        </p:nvSpPr>
        <p:spPr bwMode="auto">
          <a:xfrm>
            <a:off x="5" y="6516580"/>
            <a:ext cx="12192000" cy="3414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454" tIns="10227" rIns="20454" bIns="10227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046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79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LightCondensed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52F50C3-B8A7-47E0-951C-FAD713EE29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F65F0D-0438-4CC1-B91D-C42FB60E70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52F5E0E-8365-43B8-BF7C-08D138BF30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98"/>
          <a:stretch/>
        </p:blipFill>
        <p:spPr>
          <a:xfrm>
            <a:off x="9221213" y="253906"/>
            <a:ext cx="2344305" cy="834836"/>
          </a:xfrm>
          <a:prstGeom prst="rect">
            <a:avLst/>
          </a:prstGeom>
        </p:spPr>
      </p:pic>
      <p:sp>
        <p:nvSpPr>
          <p:cNvPr id="17" name="Textplatzhalter 17">
            <a:extLst>
              <a:ext uri="{FF2B5EF4-FFF2-40B4-BE49-F238E27FC236}">
                <a16:creationId xmlns:a16="http://schemas.microsoft.com/office/drawing/2014/main" id="{1CE62518-EED9-4C95-8230-932F0699BE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1840" y="2161536"/>
            <a:ext cx="8304211" cy="395964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8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8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76">
                <a:solidFill>
                  <a:schemeClr val="bg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76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985">
                <a:solidFill>
                  <a:schemeClr val="bg2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85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4">
                <a:solidFill>
                  <a:schemeClr val="bg2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4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4">
                <a:solidFill>
                  <a:schemeClr val="bg2"/>
                </a:solidFill>
                <a:latin typeface="+mj-lt"/>
              </a:defRPr>
            </a:lvl9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646643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92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773511E-0E3C-41FE-8835-2D141C40A1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9704180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45" imgH="245" progId="TCLayout.ActiveDocument.1">
                  <p:embed/>
                </p:oleObj>
              </mc:Choice>
              <mc:Fallback>
                <p:oleObj name="think-cell Folie" r:id="rId3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773511E-0E3C-41FE-8835-2D141C40A1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ECADE0-2B71-4B97-BFF9-CC4067977D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EC8864-654D-4713-9C98-89EC9AF511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79B43868-C497-4E09-9D87-58255825AD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1835" y="656695"/>
            <a:ext cx="7919999" cy="86518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all" baseline="0">
                <a:solidFill>
                  <a:schemeClr val="accent3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70" cap="none" spc="0" baseline="0"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70" cap="none" spc="0" baseline="0">
                <a:solidFill>
                  <a:schemeClr val="accent2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70" cap="none" spc="0" baseline="0">
                <a:solidFill>
                  <a:schemeClr val="accent3"/>
                </a:solidFill>
                <a:latin typeface="+mj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tx1"/>
                </a:solidFill>
                <a:latin typeface="+mj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accent2"/>
                </a:solidFill>
                <a:latin typeface="+mj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38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de-DE"/>
              <a:t>Aussage in maximal zwei Zeil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14783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11340FB-CC67-410E-B5EE-F17E52965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42809182"/>
              </p:ext>
            </p:extLst>
          </p:nvPr>
        </p:nvGraphicFramePr>
        <p:xfrm>
          <a:off x="1584" y="1593"/>
          <a:ext cx="1592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245" imgH="245" progId="TCLayout.ActiveDocument.1">
                  <p:embed/>
                </p:oleObj>
              </mc:Choice>
              <mc:Fallback>
                <p:oleObj name="think-cell Folie" r:id="rId18" imgW="245" imgH="2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11340FB-CC67-410E-B5EE-F17E52965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4" y="1593"/>
                        <a:ext cx="1592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40A04BA3-1070-480B-A419-142DDB6F504B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1" y="1"/>
            <a:ext cx="158748" cy="1587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046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79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RegularCondensed" panose="02000606030000020004" pitchFamily="2" charset="0"/>
              <a:ea typeface="+mj-ea"/>
              <a:cs typeface="+mj-cs"/>
              <a:sym typeface="Interstate-RegularCondensed" panose="02000606030000020004" pitchFamily="2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C4FBB8F-683B-4FA4-A8AA-1C05756996D1}"/>
              </a:ext>
            </a:extLst>
          </p:cNvPr>
          <p:cNvSpPr/>
          <p:nvPr userDrawn="1"/>
        </p:nvSpPr>
        <p:spPr bwMode="auto">
          <a:xfrm>
            <a:off x="5" y="6525346"/>
            <a:ext cx="12192000" cy="33265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454" tIns="10227" rIns="20454" bIns="10227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046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79" b="0" i="0" u="none" strike="noStrike" cap="none" normalizeH="0" baseline="0">
              <a:ln>
                <a:noFill/>
              </a:ln>
              <a:solidFill>
                <a:srgbClr val="002754"/>
              </a:solidFill>
              <a:effectLst/>
              <a:latin typeface="Interstate-LightCondensed" pitchFamily="2" charset="0"/>
            </a:endParaRP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32615" y="1845323"/>
            <a:ext cx="10691996" cy="4427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31403" y="260648"/>
            <a:ext cx="7919999" cy="251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Ers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809572C-F26D-4103-80ED-BCC964F4A9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408" y="6525344"/>
            <a:ext cx="4392002" cy="288002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379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a-DK"/>
              <a:t>Styleguide | Oktober 2019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893B7B-54D9-45DC-A422-273B07C557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4515" y="6525344"/>
            <a:ext cx="719998" cy="288002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379">
                <a:solidFill>
                  <a:schemeClr val="bg1"/>
                </a:solidFill>
                <a:latin typeface="+mn-lt"/>
              </a:defRPr>
            </a:lvl1pPr>
          </a:lstStyle>
          <a:p>
            <a:fld id="{7F619F5B-E7DE-48EE-9BE9-06A63293424F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1" name="Grafik 10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BD6048-6031-4E5F-BC7C-F16FF7A66C54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39" y="260648"/>
            <a:ext cx="2365253" cy="10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511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81024" rtl="0" eaLnBrk="1" fontAlgn="base" hangingPunct="1">
        <a:spcBef>
          <a:spcPct val="0"/>
        </a:spcBef>
        <a:spcAft>
          <a:spcPct val="0"/>
        </a:spcAft>
        <a:defRPr sz="379" cap="all" spc="0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79" cap="all" spc="0" baseline="0">
          <a:solidFill>
            <a:srgbClr val="00244E"/>
          </a:solidFill>
          <a:latin typeface="Interstate-RegularCondensed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79" cap="all" spc="0" baseline="0">
          <a:solidFill>
            <a:schemeClr val="accent2"/>
          </a:solidFill>
          <a:latin typeface="+mj-lt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79" cap="all" spc="0" baseline="0">
          <a:solidFill>
            <a:schemeClr val="accent4"/>
          </a:solidFill>
          <a:latin typeface="+mj-lt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79" cap="all" spc="0" baseline="0">
          <a:solidFill>
            <a:schemeClr val="bg1"/>
          </a:solidFill>
          <a:latin typeface="+mj-lt"/>
        </a:defRPr>
      </a:lvl5pPr>
      <a:lvl6pPr marL="0" algn="l" rtl="0" eaLnBrk="1" fontAlgn="base" hangingPunct="1">
        <a:spcBef>
          <a:spcPct val="0"/>
        </a:spcBef>
        <a:spcAft>
          <a:spcPct val="0"/>
        </a:spcAft>
        <a:defRPr sz="379">
          <a:solidFill>
            <a:schemeClr val="accent2"/>
          </a:solidFill>
          <a:latin typeface="Interstate-RegularCondensed" pitchFamily="2" charset="0"/>
        </a:defRPr>
      </a:lvl6pPr>
      <a:lvl7pPr marL="0" algn="l" rtl="0" eaLnBrk="1" fontAlgn="base" hangingPunct="1">
        <a:spcBef>
          <a:spcPct val="0"/>
        </a:spcBef>
        <a:spcAft>
          <a:spcPct val="0"/>
        </a:spcAft>
        <a:defRPr sz="379">
          <a:solidFill>
            <a:schemeClr val="accent3"/>
          </a:solidFill>
          <a:latin typeface="Interstate-RegularCondensed" pitchFamily="2" charset="0"/>
        </a:defRPr>
      </a:lvl7pPr>
      <a:lvl8pPr marL="0" algn="l" rtl="0" eaLnBrk="1" fontAlgn="base" hangingPunct="1">
        <a:spcBef>
          <a:spcPct val="0"/>
        </a:spcBef>
        <a:spcAft>
          <a:spcPct val="0"/>
        </a:spcAft>
        <a:defRPr sz="379">
          <a:solidFill>
            <a:schemeClr val="accent4"/>
          </a:solidFill>
          <a:latin typeface="Interstate-RegularCondensed" pitchFamily="2" charset="0"/>
        </a:defRPr>
      </a:lvl8pPr>
      <a:lvl9pPr marL="0" algn="l" rtl="0" eaLnBrk="1" fontAlgn="base" hangingPunct="1">
        <a:spcBef>
          <a:spcPct val="0"/>
        </a:spcBef>
        <a:spcAft>
          <a:spcPct val="0"/>
        </a:spcAft>
        <a:defRPr sz="379">
          <a:solidFill>
            <a:srgbClr val="00244E"/>
          </a:solidFill>
          <a:latin typeface="Interstate-RegularCondensed" pitchFamily="2" charset="0"/>
        </a:defRPr>
      </a:lvl9pPr>
    </p:titleStyle>
    <p:bodyStyle>
      <a:lvl1pPr marL="0" indent="0" algn="l" defTabSz="40514" rtl="0" eaLnBrk="1" fontAlgn="base" hangingPunct="1">
        <a:lnSpc>
          <a:spcPct val="100000"/>
        </a:lnSpc>
        <a:spcBef>
          <a:spcPts val="269"/>
        </a:spcBef>
        <a:spcAft>
          <a:spcPct val="0"/>
        </a:spcAft>
        <a:buClr>
          <a:srgbClr val="FF8000"/>
        </a:buClr>
        <a:buFont typeface="Times" pitchFamily="18" charset="0"/>
        <a:buNone/>
        <a:defRPr sz="379" b="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defTabSz="40514" rtl="0" eaLnBrk="1" fontAlgn="base" hangingPunct="1">
        <a:lnSpc>
          <a:spcPct val="100000"/>
        </a:lnSpc>
        <a:spcBef>
          <a:spcPts val="68"/>
        </a:spcBef>
        <a:spcAft>
          <a:spcPct val="0"/>
        </a:spcAft>
        <a:buClr>
          <a:srgbClr val="FF8000"/>
        </a:buClr>
        <a:buFont typeface="Times" pitchFamily="18" charset="0"/>
        <a:buNone/>
        <a:defRPr sz="379" b="0">
          <a:solidFill>
            <a:schemeClr val="bg2"/>
          </a:solidFill>
          <a:latin typeface="+mn-lt"/>
        </a:defRPr>
      </a:lvl2pPr>
      <a:lvl3pPr marL="40294" indent="-40294" algn="l" defTabSz="40514" rtl="0" eaLnBrk="1" fontAlgn="base" hangingPunct="1">
        <a:lnSpc>
          <a:spcPct val="100000"/>
        </a:lnSpc>
        <a:spcBef>
          <a:spcPts val="68"/>
        </a:spcBef>
        <a:spcAft>
          <a:spcPct val="0"/>
        </a:spcAft>
        <a:buClr>
          <a:schemeClr val="bg2"/>
        </a:buClr>
        <a:buSzPct val="100000"/>
        <a:buFont typeface="Wingdings" panose="05000000000000000000" pitchFamily="2" charset="2"/>
        <a:buChar char=""/>
        <a:defRPr sz="379">
          <a:solidFill>
            <a:srgbClr val="00244E"/>
          </a:solidFill>
          <a:latin typeface="+mn-lt"/>
        </a:defRPr>
      </a:lvl3pPr>
      <a:lvl4pPr marL="72528" indent="-32234" algn="l" defTabSz="40514" rtl="0" eaLnBrk="1" fontAlgn="base" hangingPunct="1">
        <a:lnSpc>
          <a:spcPct val="100000"/>
        </a:lnSpc>
        <a:spcBef>
          <a:spcPts val="68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"/>
        <a:defRPr sz="379">
          <a:solidFill>
            <a:srgbClr val="00244E"/>
          </a:solidFill>
          <a:latin typeface="+mn-lt"/>
        </a:defRPr>
      </a:lvl4pPr>
      <a:lvl5pPr marL="0" indent="0" algn="l" defTabSz="40514" rtl="0" eaLnBrk="1" fontAlgn="base" hangingPunct="1">
        <a:lnSpc>
          <a:spcPct val="100000"/>
        </a:lnSpc>
        <a:spcBef>
          <a:spcPts val="68"/>
        </a:spcBef>
        <a:spcAft>
          <a:spcPct val="0"/>
        </a:spcAft>
        <a:buClr>
          <a:schemeClr val="bg2"/>
        </a:buClr>
        <a:buFont typeface="Interstate-LightCondensed" panose="020B0604020202020204" charset="0"/>
        <a:buNone/>
        <a:defRPr sz="379">
          <a:solidFill>
            <a:schemeClr val="bg2"/>
          </a:solidFill>
          <a:latin typeface="+mn-lt"/>
        </a:defRPr>
      </a:lvl5pPr>
      <a:lvl6pPr marL="32234" indent="-32234" algn="l" defTabSz="40514" rtl="0" eaLnBrk="1" fontAlgn="base" hangingPunct="1">
        <a:lnSpc>
          <a:spcPct val="100000"/>
        </a:lnSpc>
        <a:spcBef>
          <a:spcPts val="68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"/>
        <a:defRPr sz="379">
          <a:solidFill>
            <a:schemeClr val="bg2"/>
          </a:solidFill>
          <a:latin typeface="+mn-lt"/>
        </a:defRPr>
      </a:lvl6pPr>
      <a:lvl7pPr marL="0" indent="0" algn="l" defTabSz="40514" rtl="0" eaLnBrk="1" fontAlgn="base" hangingPunct="1">
        <a:lnSpc>
          <a:spcPct val="100000"/>
        </a:lnSpc>
        <a:spcBef>
          <a:spcPts val="68"/>
        </a:spcBef>
        <a:spcAft>
          <a:spcPts val="0"/>
        </a:spcAft>
        <a:buClr>
          <a:schemeClr val="tx1"/>
        </a:buClr>
        <a:buFont typeface="Wingdings" panose="05000000000000000000" pitchFamily="2" charset="2"/>
        <a:buNone/>
        <a:defRPr sz="379">
          <a:solidFill>
            <a:schemeClr val="tx1"/>
          </a:solidFill>
          <a:latin typeface="+mn-lt"/>
        </a:defRPr>
      </a:lvl7pPr>
      <a:lvl8pPr marL="0" indent="0" algn="l" defTabSz="40514" rtl="0" eaLnBrk="1" fontAlgn="base" hangingPunct="1">
        <a:lnSpc>
          <a:spcPct val="100000"/>
        </a:lnSpc>
        <a:spcBef>
          <a:spcPts val="68"/>
        </a:spcBef>
        <a:spcAft>
          <a:spcPts val="0"/>
        </a:spcAft>
        <a:buClr>
          <a:srgbClr val="FF8000"/>
        </a:buClr>
        <a:buFont typeface="Wingdings" panose="05000000000000000000" pitchFamily="2" charset="2"/>
        <a:buNone/>
        <a:defRPr sz="379">
          <a:solidFill>
            <a:schemeClr val="tx1"/>
          </a:solidFill>
          <a:latin typeface="+mn-lt"/>
        </a:defRPr>
      </a:lvl8pPr>
      <a:lvl9pPr marL="0" indent="0" algn="l" defTabSz="40514" rtl="0" eaLnBrk="1" fontAlgn="base" hangingPunct="1">
        <a:lnSpc>
          <a:spcPct val="100000"/>
        </a:lnSpc>
        <a:spcBef>
          <a:spcPts val="68"/>
        </a:spcBef>
        <a:spcAft>
          <a:spcPts val="0"/>
        </a:spcAft>
        <a:buClr>
          <a:schemeClr val="tx1"/>
        </a:buClr>
        <a:buFont typeface="Arial" panose="020B0604020202020204" pitchFamily="34" charset="0"/>
        <a:buNone/>
        <a:defRPr sz="379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204693" rtl="0" eaLnBrk="1" latinLnBrk="0" hangingPunct="1">
        <a:defRPr sz="402" kern="1200">
          <a:solidFill>
            <a:schemeClr val="tx1"/>
          </a:solidFill>
          <a:latin typeface="+mn-lt"/>
          <a:ea typeface="+mn-ea"/>
          <a:cs typeface="+mn-cs"/>
        </a:defRPr>
      </a:lvl1pPr>
      <a:lvl2pPr marL="102349" algn="l" defTabSz="204693" rtl="0" eaLnBrk="1" latinLnBrk="0" hangingPunct="1">
        <a:defRPr sz="402" kern="1200">
          <a:solidFill>
            <a:schemeClr val="tx1"/>
          </a:solidFill>
          <a:latin typeface="+mn-lt"/>
          <a:ea typeface="+mn-ea"/>
          <a:cs typeface="+mn-cs"/>
        </a:defRPr>
      </a:lvl2pPr>
      <a:lvl3pPr marL="204693" algn="l" defTabSz="204693" rtl="0" eaLnBrk="1" latinLnBrk="0" hangingPunct="1">
        <a:defRPr sz="402" kern="1200">
          <a:solidFill>
            <a:schemeClr val="tx1"/>
          </a:solidFill>
          <a:latin typeface="+mn-lt"/>
          <a:ea typeface="+mn-ea"/>
          <a:cs typeface="+mn-cs"/>
        </a:defRPr>
      </a:lvl3pPr>
      <a:lvl4pPr marL="307042" algn="l" defTabSz="204693" rtl="0" eaLnBrk="1" latinLnBrk="0" hangingPunct="1">
        <a:defRPr sz="402" kern="1200">
          <a:solidFill>
            <a:schemeClr val="tx1"/>
          </a:solidFill>
          <a:latin typeface="+mn-lt"/>
          <a:ea typeface="+mn-ea"/>
          <a:cs typeface="+mn-cs"/>
        </a:defRPr>
      </a:lvl4pPr>
      <a:lvl5pPr marL="409387" algn="l" defTabSz="204693" rtl="0" eaLnBrk="1" latinLnBrk="0" hangingPunct="1">
        <a:defRPr sz="402" kern="1200">
          <a:solidFill>
            <a:schemeClr val="tx1"/>
          </a:solidFill>
          <a:latin typeface="+mn-lt"/>
          <a:ea typeface="+mn-ea"/>
          <a:cs typeface="+mn-cs"/>
        </a:defRPr>
      </a:lvl5pPr>
      <a:lvl6pPr marL="511736" algn="l" defTabSz="204693" rtl="0" eaLnBrk="1" latinLnBrk="0" hangingPunct="1">
        <a:defRPr sz="402" kern="1200">
          <a:solidFill>
            <a:schemeClr val="tx1"/>
          </a:solidFill>
          <a:latin typeface="+mn-lt"/>
          <a:ea typeface="+mn-ea"/>
          <a:cs typeface="+mn-cs"/>
        </a:defRPr>
      </a:lvl6pPr>
      <a:lvl7pPr marL="614080" algn="l" defTabSz="204693" rtl="0" eaLnBrk="1" latinLnBrk="0" hangingPunct="1">
        <a:defRPr sz="402" kern="1200">
          <a:solidFill>
            <a:schemeClr val="tx1"/>
          </a:solidFill>
          <a:latin typeface="+mn-lt"/>
          <a:ea typeface="+mn-ea"/>
          <a:cs typeface="+mn-cs"/>
        </a:defRPr>
      </a:lvl7pPr>
      <a:lvl8pPr marL="716429" algn="l" defTabSz="204693" rtl="0" eaLnBrk="1" latinLnBrk="0" hangingPunct="1">
        <a:defRPr sz="402" kern="1200">
          <a:solidFill>
            <a:schemeClr val="tx1"/>
          </a:solidFill>
          <a:latin typeface="+mn-lt"/>
          <a:ea typeface="+mn-ea"/>
          <a:cs typeface="+mn-cs"/>
        </a:defRPr>
      </a:lvl8pPr>
      <a:lvl9pPr marL="818774" algn="l" defTabSz="204693" rtl="0" eaLnBrk="1" latinLnBrk="0" hangingPunct="1">
        <a:defRPr sz="4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05">
          <p15:clr>
            <a:srgbClr val="F26B43"/>
          </p15:clr>
        </p15:guide>
        <p15:guide id="2" orient="horz" pos="17452">
          <p15:clr>
            <a:srgbClr val="F26B43"/>
          </p15:clr>
        </p15:guide>
        <p15:guide id="3" pos="25268">
          <p15:clr>
            <a:srgbClr val="F26B43"/>
          </p15:clr>
        </p15:guide>
        <p15:guide id="4" orient="horz" pos="5130">
          <p15:clr>
            <a:srgbClr val="F26B43"/>
          </p15:clr>
        </p15:guide>
        <p15:guide id="5" orient="horz" pos="18146">
          <p15:clr>
            <a:srgbClr val="F26B43"/>
          </p15:clr>
        </p15:guide>
        <p15:guide id="10" pos="13318">
          <p15:clr>
            <a:srgbClr val="F26B43"/>
          </p15:clr>
        </p15:guide>
        <p15:guide id="11" pos="135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19.png"/><Relationship Id="rId18" Type="http://schemas.openxmlformats.org/officeDocument/2006/relationships/image" Target="../media/image24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8.tif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2.svg"/><Relationship Id="rId20" Type="http://schemas.microsoft.com/office/2007/relationships/hdphoto" Target="../media/hdphoto2.wdp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svg"/><Relationship Id="rId11" Type="http://schemas.microsoft.com/office/2007/relationships/hdphoto" Target="../media/hdphoto1.wdp"/><Relationship Id="rId5" Type="http://schemas.openxmlformats.org/officeDocument/2006/relationships/image" Target="../media/image12.png"/><Relationship Id="rId15" Type="http://schemas.openxmlformats.org/officeDocument/2006/relationships/image" Target="../media/image21.png"/><Relationship Id="rId10" Type="http://schemas.openxmlformats.org/officeDocument/2006/relationships/image" Target="../media/image17.png"/><Relationship Id="rId19" Type="http://schemas.openxmlformats.org/officeDocument/2006/relationships/image" Target="../media/image25.pn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20.t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2395F399-12BA-23D7-B21C-3D0BD5DDC14C}"/>
              </a:ext>
            </a:extLst>
          </p:cNvPr>
          <p:cNvSpPr/>
          <p:nvPr/>
        </p:nvSpPr>
        <p:spPr bwMode="auto">
          <a:xfrm>
            <a:off x="204068" y="1374887"/>
            <a:ext cx="4406667" cy="4977482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2857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207112" fontAlgn="base">
              <a:spcBef>
                <a:spcPct val="0"/>
              </a:spcBef>
              <a:spcAft>
                <a:spcPct val="0"/>
              </a:spcAft>
            </a:pPr>
            <a:endParaRPr lang="de-DE" sz="1250">
              <a:solidFill>
                <a:srgbClr val="0C2340"/>
              </a:solidFill>
              <a:latin typeface="Interstate-LightCondensed" pitchFamily="2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7726243-AAAC-F1EB-64BE-A01CB60F8D1D}"/>
              </a:ext>
            </a:extLst>
          </p:cNvPr>
          <p:cNvSpPr/>
          <p:nvPr/>
        </p:nvSpPr>
        <p:spPr bwMode="auto">
          <a:xfrm>
            <a:off x="0" y="6760044"/>
            <a:ext cx="12192000" cy="91440"/>
          </a:xfrm>
          <a:prstGeom prst="rect">
            <a:avLst/>
          </a:prstGeom>
          <a:solidFill>
            <a:srgbClr val="002754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207112" fontAlgn="base">
              <a:spcBef>
                <a:spcPct val="0"/>
              </a:spcBef>
              <a:spcAft>
                <a:spcPct val="0"/>
              </a:spcAft>
            </a:pPr>
            <a:endParaRPr lang="de-DE" sz="379">
              <a:solidFill>
                <a:srgbClr val="0C2340"/>
              </a:solidFill>
              <a:latin typeface="Interstate-LightCondensed" pitchFamily="2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8FC1E992-9405-221F-7A17-DE281113F8B9}"/>
              </a:ext>
            </a:extLst>
          </p:cNvPr>
          <p:cNvSpPr txBox="1"/>
          <p:nvPr/>
        </p:nvSpPr>
        <p:spPr>
          <a:xfrm>
            <a:off x="0" y="105564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0711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2754"/>
                </a:solidFill>
                <a:latin typeface="Interstate-BoldCondensed" panose="02000806030000020004" pitchFamily="2" charset="0"/>
              </a:rPr>
              <a:t>PHOTODYNAMIC THERAPY WITH 10% AMINOLEVULINIC ACID GEL AND RED-LIGHT FOR THE TREATMENT OF NON-AGGRESSIVE BCCs: </a:t>
            </a:r>
          </a:p>
          <a:p>
            <a:pPr defTabSz="20711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2754"/>
                </a:solidFill>
                <a:latin typeface="Interstate-BoldCondensed" panose="02000806030000020004" pitchFamily="2" charset="0"/>
              </a:rPr>
              <a:t>5-YEAR FOLLOW-UP DATA OF A RANDOMIZED, CONTROLLED, COMPARATIVE, MULTICENTER PHASE-III-TRIAL</a:t>
            </a:r>
            <a:endParaRPr lang="de-DE" sz="1600" dirty="0">
              <a:solidFill>
                <a:srgbClr val="002754"/>
              </a:solidFill>
              <a:latin typeface="Interstate-BoldCondensed" panose="02000806030000020004" pitchFamily="2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C4C4E6B-0372-564D-EB76-EFD0928D80FB}"/>
              </a:ext>
            </a:extLst>
          </p:cNvPr>
          <p:cNvSpPr/>
          <p:nvPr/>
        </p:nvSpPr>
        <p:spPr bwMode="auto">
          <a:xfrm>
            <a:off x="0" y="0"/>
            <a:ext cx="12192000" cy="91440"/>
          </a:xfrm>
          <a:prstGeom prst="rect">
            <a:avLst/>
          </a:prstGeom>
          <a:solidFill>
            <a:srgbClr val="00275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207112" fontAlgn="base">
              <a:spcBef>
                <a:spcPct val="0"/>
              </a:spcBef>
              <a:spcAft>
                <a:spcPct val="0"/>
              </a:spcAft>
            </a:pPr>
            <a:endParaRPr lang="de-DE" sz="379">
              <a:solidFill>
                <a:srgbClr val="0C2340"/>
              </a:solidFill>
              <a:latin typeface="Interstate-LightCondensed" pitchFamily="2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095AF8B-4AAC-124E-41F0-8F041E7C1B13}"/>
              </a:ext>
            </a:extLst>
          </p:cNvPr>
          <p:cNvSpPr txBox="1"/>
          <p:nvPr/>
        </p:nvSpPr>
        <p:spPr>
          <a:xfrm>
            <a:off x="195871" y="6521520"/>
            <a:ext cx="7757167" cy="253916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defTabSz="207112" fontAlgn="base">
              <a:spcBef>
                <a:spcPct val="0"/>
              </a:spcBef>
              <a:spcAft>
                <a:spcPts val="136"/>
              </a:spcAft>
            </a:pPr>
            <a:r>
              <a:rPr lang="en-US" sz="1050" b="1" dirty="0">
                <a:solidFill>
                  <a:srgbClr val="EB691C"/>
                </a:solidFill>
              </a:rPr>
              <a:t>REFERENCES:  </a:t>
            </a:r>
            <a:r>
              <a:rPr lang="en-US" sz="900" baseline="30000" dirty="0">
                <a:solidFill>
                  <a:srgbClr val="002754"/>
                </a:solidFill>
              </a:rPr>
              <a:t>1</a:t>
            </a:r>
            <a:r>
              <a:rPr lang="en-US" sz="900" dirty="0">
                <a:solidFill>
                  <a:srgbClr val="002754"/>
                </a:solidFill>
              </a:rPr>
              <a:t> Ameluz SmPC; </a:t>
            </a:r>
            <a:r>
              <a:rPr lang="en-US" sz="900" baseline="30000" dirty="0">
                <a:solidFill>
                  <a:srgbClr val="002754"/>
                </a:solidFill>
              </a:rPr>
              <a:t>2</a:t>
            </a:r>
            <a:r>
              <a:rPr lang="en-US" sz="900" dirty="0">
                <a:solidFill>
                  <a:srgbClr val="002754"/>
                </a:solidFill>
              </a:rPr>
              <a:t> Morton et al., </a:t>
            </a:r>
            <a:r>
              <a:rPr lang="da-DK" sz="900" dirty="0">
                <a:solidFill>
                  <a:srgbClr val="002754"/>
                </a:solidFill>
              </a:rPr>
              <a:t>Br J Dermatol. 2018 Aug;179(2):309-319;</a:t>
            </a:r>
            <a:r>
              <a:rPr lang="en-US" sz="900" dirty="0">
                <a:solidFill>
                  <a:srgbClr val="002754"/>
                </a:solidFill>
              </a:rPr>
              <a:t> </a:t>
            </a:r>
            <a:r>
              <a:rPr lang="en-US" sz="900" baseline="30000" dirty="0">
                <a:solidFill>
                  <a:srgbClr val="002754"/>
                </a:solidFill>
              </a:rPr>
              <a:t>3</a:t>
            </a:r>
            <a:r>
              <a:rPr lang="en-US" sz="900" dirty="0">
                <a:solidFill>
                  <a:srgbClr val="002754"/>
                </a:solidFill>
              </a:rPr>
              <a:t>  Maisch et al., </a:t>
            </a:r>
            <a:r>
              <a:rPr lang="pt-BR" sz="900" dirty="0">
                <a:solidFill>
                  <a:srgbClr val="002754"/>
                </a:solidFill>
              </a:rPr>
              <a:t>Exp Dermatol. 2010 Aug;19(8):e302-5;</a:t>
            </a:r>
            <a:r>
              <a:rPr lang="en-US" sz="900" dirty="0">
                <a:solidFill>
                  <a:srgbClr val="002754"/>
                </a:solidFill>
              </a:rPr>
              <a:t> </a:t>
            </a:r>
            <a:r>
              <a:rPr lang="en-US" sz="900" baseline="30000" dirty="0">
                <a:solidFill>
                  <a:srgbClr val="002754"/>
                </a:solidFill>
              </a:rPr>
              <a:t>4  </a:t>
            </a:r>
            <a:r>
              <a:rPr lang="en-US" sz="900" dirty="0">
                <a:solidFill>
                  <a:srgbClr val="002754"/>
                </a:solidFill>
              </a:rPr>
              <a:t>clinicaltrials.gov/study/NCT02144077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C2B796D9-4B3B-2A9D-0D93-C8E4158A2748}"/>
              </a:ext>
            </a:extLst>
          </p:cNvPr>
          <p:cNvSpPr txBox="1"/>
          <p:nvPr/>
        </p:nvSpPr>
        <p:spPr>
          <a:xfrm>
            <a:off x="-7048" y="653132"/>
            <a:ext cx="121883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07112" fontAlgn="base">
              <a:spcBef>
                <a:spcPct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2754"/>
                </a:solidFill>
              </a:rPr>
              <a:t>Colin A. Morton </a:t>
            </a:r>
            <a:r>
              <a:rPr lang="en-US" sz="1200" baseline="30000" dirty="0">
                <a:solidFill>
                  <a:srgbClr val="002754"/>
                </a:solidFill>
              </a:rPr>
              <a:t>1</a:t>
            </a:r>
            <a:r>
              <a:rPr lang="en-US" sz="1200" dirty="0">
                <a:solidFill>
                  <a:srgbClr val="002754"/>
                </a:solidFill>
              </a:rPr>
              <a:t>, Rolf-Markus Szeimies </a:t>
            </a:r>
            <a:r>
              <a:rPr lang="en-US" sz="1200" baseline="30000" dirty="0">
                <a:solidFill>
                  <a:srgbClr val="002754"/>
                </a:solidFill>
              </a:rPr>
              <a:t>2</a:t>
            </a:r>
            <a:r>
              <a:rPr lang="en-US" sz="1200" dirty="0">
                <a:solidFill>
                  <a:srgbClr val="002754"/>
                </a:solidFill>
              </a:rPr>
              <a:t>, members of the ALA-BCC-CT008 study-team, </a:t>
            </a:r>
            <a:r>
              <a:rPr lang="de-DE" sz="1200" dirty="0">
                <a:solidFill>
                  <a:srgbClr val="002754"/>
                </a:solidFill>
              </a:rPr>
              <a:t>Dr. Beate Schmitz </a:t>
            </a:r>
            <a:r>
              <a:rPr lang="en-US" sz="1200" baseline="30000" dirty="0">
                <a:solidFill>
                  <a:srgbClr val="002754"/>
                </a:solidFill>
              </a:rPr>
              <a:t>3</a:t>
            </a:r>
            <a:r>
              <a:rPr lang="de-DE" sz="1200" dirty="0">
                <a:solidFill>
                  <a:srgbClr val="002754"/>
                </a:solidFill>
              </a:rPr>
              <a:t>, Dr. Hermann Luebbert </a:t>
            </a:r>
            <a:r>
              <a:rPr lang="en-US" sz="1200" baseline="30000" dirty="0">
                <a:solidFill>
                  <a:srgbClr val="002754"/>
                </a:solidFill>
              </a:rPr>
              <a:t>3</a:t>
            </a:r>
            <a:r>
              <a:rPr lang="de-DE" sz="1200" dirty="0">
                <a:solidFill>
                  <a:srgbClr val="002754"/>
                </a:solidFill>
              </a:rPr>
              <a:t>*</a:t>
            </a:r>
          </a:p>
          <a:p>
            <a:pPr defTabSz="207112" fontAlgn="base">
              <a:spcBef>
                <a:spcPct val="0"/>
              </a:spcBef>
            </a:pPr>
            <a:r>
              <a:rPr lang="en-US" sz="950" baseline="30000" dirty="0">
                <a:solidFill>
                  <a:srgbClr val="002754"/>
                </a:solidFill>
              </a:rPr>
              <a:t>1 </a:t>
            </a:r>
            <a:r>
              <a:rPr lang="en-US" sz="950" dirty="0">
                <a:solidFill>
                  <a:srgbClr val="002754"/>
                </a:solidFill>
              </a:rPr>
              <a:t>Dermatology Department, Stirling Community Hospital, Stirling, U.K.; </a:t>
            </a:r>
            <a:r>
              <a:rPr lang="en-US" sz="950" baseline="30000" dirty="0">
                <a:solidFill>
                  <a:srgbClr val="002754"/>
                </a:solidFill>
              </a:rPr>
              <a:t>2 </a:t>
            </a:r>
            <a:r>
              <a:rPr lang="en-US" sz="950" dirty="0">
                <a:solidFill>
                  <a:srgbClr val="002754"/>
                </a:solidFill>
              </a:rPr>
              <a:t>Department of Dermatology &amp; Allergology, </a:t>
            </a:r>
            <a:r>
              <a:rPr lang="en-US" sz="950" dirty="0" err="1">
                <a:solidFill>
                  <a:srgbClr val="002754"/>
                </a:solidFill>
              </a:rPr>
              <a:t>Klinikum</a:t>
            </a:r>
            <a:r>
              <a:rPr lang="en-US" sz="950" dirty="0">
                <a:solidFill>
                  <a:srgbClr val="002754"/>
                </a:solidFill>
              </a:rPr>
              <a:t> Vest Academic Teaching Hospital, Recklinghausen, Germany; </a:t>
            </a:r>
            <a:r>
              <a:rPr lang="en-US" sz="950" baseline="30000" dirty="0">
                <a:solidFill>
                  <a:srgbClr val="002754"/>
                </a:solidFill>
              </a:rPr>
              <a:t>3 </a:t>
            </a:r>
            <a:r>
              <a:rPr lang="en-US" sz="950" dirty="0">
                <a:solidFill>
                  <a:srgbClr val="002754"/>
                </a:solidFill>
              </a:rPr>
              <a:t>Biofrontera Bioscience GmbH, Leverkusen, Germany * Currently: Biofrontera Inc., Woburn, U.S.</a:t>
            </a:r>
            <a:endParaRPr lang="en-US" sz="950" baseline="30000" dirty="0">
              <a:solidFill>
                <a:srgbClr val="002754"/>
              </a:solidFill>
            </a:endParaRPr>
          </a:p>
        </p:txBody>
      </p:sp>
      <p:pic>
        <p:nvPicPr>
          <p:cNvPr id="29" name="Grafik 28" descr="Route zwei Stecknadeln mit Weg mit einfarbiger Füllung">
            <a:extLst>
              <a:ext uri="{FF2B5EF4-FFF2-40B4-BE49-F238E27FC236}">
                <a16:creationId xmlns:a16="http://schemas.microsoft.com/office/drawing/2014/main" id="{2A8D2629-F408-7024-9DD5-541A2B21E5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7987" y="3906087"/>
            <a:ext cx="274319" cy="274320"/>
          </a:xfrm>
          <a:prstGeom prst="rect">
            <a:avLst/>
          </a:prstGeom>
        </p:spPr>
      </p:pic>
      <p:sp>
        <p:nvSpPr>
          <p:cNvPr id="201" name="Rechteck 35">
            <a:extLst>
              <a:ext uri="{FF2B5EF4-FFF2-40B4-BE49-F238E27FC236}">
                <a16:creationId xmlns:a16="http://schemas.microsoft.com/office/drawing/2014/main" id="{62F84808-9BA4-37E6-3394-D79B1206E7FC}"/>
              </a:ext>
            </a:extLst>
          </p:cNvPr>
          <p:cNvSpPr/>
          <p:nvPr/>
        </p:nvSpPr>
        <p:spPr bwMode="auto">
          <a:xfrm>
            <a:off x="471420" y="1700819"/>
            <a:ext cx="4145860" cy="453798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numCol="1" rtlCol="0" anchor="t"/>
          <a:lstStyle/>
          <a:p>
            <a:pPr algn="just" defTabSz="207112" fontAlgn="base">
              <a:spcBef>
                <a:spcPct val="0"/>
              </a:spcBef>
              <a:spcAft>
                <a:spcPts val="75"/>
              </a:spcAft>
            </a:pPr>
            <a:r>
              <a:rPr lang="en-US" sz="1050" b="1" u="sng" dirty="0">
                <a:solidFill>
                  <a:srgbClr val="0C2340"/>
                </a:solidFill>
              </a:rPr>
              <a:t>SYNOPSIS</a:t>
            </a:r>
          </a:p>
          <a:p>
            <a:pPr algn="just" defTabSz="207112" fontAlgn="base">
              <a:spcBef>
                <a:spcPct val="0"/>
              </a:spcBef>
              <a:spcAft>
                <a:spcPts val="136"/>
              </a:spcAft>
            </a:pPr>
            <a:r>
              <a:rPr lang="en-US" sz="1000" dirty="0">
                <a:solidFill>
                  <a:srgbClr val="002754"/>
                </a:solidFill>
              </a:rPr>
              <a:t>Basal cell carcinoma (BCC) is the most prevalent skin cancer. While excision is the treatment of choice, scarring can have major cosmetic implications. Photodynamic therapy (PDT) is an alternative, non-invasive, treatment option for BCC that combines both good efficacy and good cosmetic outcome. Long-term efficacy data beyond 12 months post-treatment of BCC lesions with PDT are scarce. This study presents the 5-year follow-up data of a randomized, positive-controlled, observer-blind, phase-III-trial conducted in Germany and the UK from 2014 to 2020, assessing efficacy and safety of red-light PDT in the treatment of non-aggressive BCCs (NCT02144077).</a:t>
            </a:r>
          </a:p>
          <a:p>
            <a:pPr marL="17893" algn="just" defTabSz="207112" fontAlgn="base">
              <a:spcBef>
                <a:spcPts val="600"/>
              </a:spcBef>
              <a:spcAft>
                <a:spcPct val="0"/>
              </a:spcAft>
            </a:pPr>
            <a:r>
              <a:rPr lang="en-US" sz="1050" b="1" u="sng" dirty="0">
                <a:solidFill>
                  <a:srgbClr val="0C2340"/>
                </a:solidFill>
              </a:rPr>
              <a:t>OBJECTIVE</a:t>
            </a:r>
            <a:r>
              <a:rPr lang="en-US" sz="1000" dirty="0">
                <a:solidFill>
                  <a:srgbClr val="EB691C"/>
                </a:solidFill>
              </a:rPr>
              <a:t> </a:t>
            </a:r>
          </a:p>
          <a:p>
            <a:pPr marL="17893" algn="just" defTabSz="207112" fontAlgn="base">
              <a:spcBef>
                <a:spcPts val="75"/>
              </a:spcBef>
              <a:spcAft>
                <a:spcPts val="75"/>
              </a:spcAft>
            </a:pPr>
            <a:r>
              <a:rPr lang="en-US" sz="1000" dirty="0">
                <a:solidFill>
                  <a:srgbClr val="002754"/>
                </a:solidFill>
              </a:rPr>
              <a:t>The aim of this study was to assess the safety and efficacy of red-light PDT with 10% </a:t>
            </a:r>
            <a:r>
              <a:rPr lang="en-US" sz="1000" dirty="0" err="1">
                <a:solidFill>
                  <a:srgbClr val="002754"/>
                </a:solidFill>
              </a:rPr>
              <a:t>aminolevulinic</a:t>
            </a:r>
            <a:r>
              <a:rPr lang="en-US" sz="1000" dirty="0">
                <a:solidFill>
                  <a:srgbClr val="002754"/>
                </a:solidFill>
              </a:rPr>
              <a:t> acid (ALA; 78 mg/g) gel as compared to 16% methyl-</a:t>
            </a:r>
            <a:r>
              <a:rPr lang="en-US" sz="1000" dirty="0" err="1">
                <a:solidFill>
                  <a:srgbClr val="002754"/>
                </a:solidFill>
              </a:rPr>
              <a:t>aminolevulinate</a:t>
            </a:r>
            <a:r>
              <a:rPr lang="en-US" sz="1000" dirty="0">
                <a:solidFill>
                  <a:srgbClr val="002754"/>
                </a:solidFill>
              </a:rPr>
              <a:t> (MAL, 160 mg/m) cream in the treatment of thin non-aggressive BCCs.</a:t>
            </a:r>
          </a:p>
          <a:p>
            <a:pPr algn="just" defTabSz="207112" fontAlgn="base">
              <a:spcBef>
                <a:spcPts val="600"/>
              </a:spcBef>
            </a:pPr>
            <a:r>
              <a:rPr lang="en-US" sz="1050" b="1" u="sng" dirty="0">
                <a:solidFill>
                  <a:srgbClr val="0C2340"/>
                </a:solidFill>
              </a:rPr>
              <a:t>METHODS</a:t>
            </a:r>
          </a:p>
          <a:p>
            <a:pPr marL="80184" indent="-70835" algn="just" defTabSz="20711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2754"/>
                </a:solidFill>
              </a:rPr>
              <a:t>Randomized, observer-blind, comparator-controlled, interindividual, non-inferiority Phase III study was performed at 24 sites in U.K. &amp; Germany</a:t>
            </a:r>
          </a:p>
          <a:p>
            <a:pPr marL="80184" indent="-70835" algn="just" defTabSz="20711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2754"/>
                </a:solidFill>
              </a:rPr>
              <a:t>281 adult patients with 1-3 primary nodular or superficial BCCs with up to 2 mm thickness on face/scalp, neck/trunk or extremities were randomized (1:1)</a:t>
            </a:r>
          </a:p>
          <a:p>
            <a:pPr marL="80184" indent="-70835" algn="just" defTabSz="20711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2754"/>
                </a:solidFill>
              </a:rPr>
              <a:t>Illumination was performed 3 h after drug application for 10 min with a narrowband red-light source (~635 nm, 37 J/cm</a:t>
            </a:r>
            <a:r>
              <a:rPr lang="en-US" sz="1000" baseline="30000" dirty="0">
                <a:solidFill>
                  <a:srgbClr val="002754"/>
                </a:solidFill>
              </a:rPr>
              <a:t>2</a:t>
            </a:r>
            <a:r>
              <a:rPr lang="en-US" sz="1000" dirty="0">
                <a:solidFill>
                  <a:srgbClr val="002754"/>
                </a:solidFill>
              </a:rPr>
              <a:t>) </a:t>
            </a:r>
          </a:p>
          <a:p>
            <a:pPr marL="80184" indent="-70835" algn="just" defTabSz="20711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2754"/>
                </a:solidFill>
              </a:rPr>
              <a:t>Two PDT sessions were performed one week apart (first PDT cycle)</a:t>
            </a:r>
          </a:p>
          <a:p>
            <a:pPr marL="80184" indent="-70835" algn="just" defTabSz="20711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2754"/>
                </a:solidFill>
              </a:rPr>
              <a:t>Lesions were assessed 12 weeks after last PDT and retreated in case of remaining lesions with a second PDT cycle.</a:t>
            </a:r>
          </a:p>
          <a:p>
            <a:pPr marL="80184" indent="-70835" algn="just" defTabSz="20711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2754"/>
                </a:solidFill>
              </a:rPr>
              <a:t>Follow-up (FU): 6-60 months</a:t>
            </a:r>
          </a:p>
          <a:p>
            <a:pPr marL="17893" algn="just" defTabSz="207112" fontAlgn="base">
              <a:spcBef>
                <a:spcPts val="600"/>
              </a:spcBef>
              <a:spcAft>
                <a:spcPct val="0"/>
              </a:spcAft>
            </a:pPr>
            <a:r>
              <a:rPr lang="en-US" sz="1050" b="1" u="sng" dirty="0">
                <a:solidFill>
                  <a:srgbClr val="0C2340"/>
                </a:solidFill>
              </a:rPr>
              <a:t>ENDPOINTS (FOLLOW-UP)</a:t>
            </a:r>
          </a:p>
          <a:p>
            <a:pPr marL="100320" indent="-82701" algn="just" defTabSz="207112" fontAlgn="base">
              <a:spcBef>
                <a:spcPts val="75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2754"/>
                </a:solidFill>
              </a:rPr>
              <a:t>Patient &amp; lesion recurrence rate during FU, after 12-week clearance post last PDT</a:t>
            </a:r>
          </a:p>
          <a:p>
            <a:pPr marL="100320" indent="-82701" algn="just" defTabSz="207112" fontAlgn="base">
              <a:spcBef>
                <a:spcPts val="75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2754"/>
                </a:solidFill>
              </a:rPr>
              <a:t>Cosmetic outcome, skin quality and patient satisfaction</a:t>
            </a:r>
          </a:p>
          <a:p>
            <a:pPr marL="17893" algn="just" defTabSz="207112" fontAlgn="base">
              <a:spcBef>
                <a:spcPts val="75"/>
              </a:spcBef>
              <a:spcAft>
                <a:spcPts val="75"/>
              </a:spcAft>
            </a:pPr>
            <a:endParaRPr lang="en-US" sz="1000" dirty="0">
              <a:solidFill>
                <a:srgbClr val="002754"/>
              </a:solidFill>
            </a:endParaRPr>
          </a:p>
          <a:p>
            <a:pPr algn="just" defTabSz="207112" fontAlgn="base">
              <a:spcBef>
                <a:spcPct val="0"/>
              </a:spcBef>
              <a:spcAft>
                <a:spcPts val="136"/>
              </a:spcAft>
            </a:pPr>
            <a:endParaRPr lang="en-US" sz="1000" dirty="0">
              <a:solidFill>
                <a:srgbClr val="002754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3B3C5883-AA9C-C4CA-5004-74BF087889C6}"/>
              </a:ext>
            </a:extLst>
          </p:cNvPr>
          <p:cNvSpPr/>
          <p:nvPr/>
        </p:nvSpPr>
        <p:spPr>
          <a:xfrm>
            <a:off x="265581" y="3182352"/>
            <a:ext cx="274320" cy="274320"/>
          </a:xfrm>
          <a:prstGeom prst="rect">
            <a:avLst/>
          </a:prstGeom>
          <a:noFill/>
        </p:spPr>
        <p:txBody>
          <a:bodyPr wrap="square" lIns="11363" tIns="5681" rIns="11363" bIns="5681">
            <a:spAutoFit/>
          </a:bodyPr>
          <a:lstStyle/>
          <a:p>
            <a:pPr algn="ctr" defTabSz="207112" fontAlgn="base">
              <a:spcBef>
                <a:spcPct val="0"/>
              </a:spcBef>
              <a:spcAft>
                <a:spcPct val="0"/>
              </a:spcAft>
            </a:pPr>
            <a:r>
              <a:rPr lang="de-DE" sz="1666" b="1" spc="6" dirty="0">
                <a:ln w="0"/>
                <a:solidFill>
                  <a:srgbClr val="002754"/>
                </a:solidFill>
                <a:latin typeface="Interstate-LightCondensed" pitchFamily="2" charset="0"/>
              </a:rPr>
              <a:t>?</a:t>
            </a:r>
          </a:p>
        </p:txBody>
      </p:sp>
      <p:pic>
        <p:nvPicPr>
          <p:cNvPr id="1133" name="Grafik 1132" descr="Volltreffer mit einfarbiger Füllung">
            <a:extLst>
              <a:ext uri="{FF2B5EF4-FFF2-40B4-BE49-F238E27FC236}">
                <a16:creationId xmlns:a16="http://schemas.microsoft.com/office/drawing/2014/main" id="{070432A4-4F76-0D7A-599C-DDC8CDD1FC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581" y="5653411"/>
            <a:ext cx="274320" cy="274320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B3859461-02A8-3EB3-FAD9-96758FB32CBC}"/>
              </a:ext>
            </a:extLst>
          </p:cNvPr>
          <p:cNvSpPr/>
          <p:nvPr/>
        </p:nvSpPr>
        <p:spPr bwMode="auto">
          <a:xfrm>
            <a:off x="4374729" y="1162730"/>
            <a:ext cx="1156129" cy="246681"/>
          </a:xfrm>
          <a:prstGeom prst="roundRect">
            <a:avLst>
              <a:gd name="adj" fmla="val 50000"/>
            </a:avLst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207112" fontAlgn="base">
              <a:spcBef>
                <a:spcPct val="0"/>
              </a:spcBef>
              <a:spcAft>
                <a:spcPct val="0"/>
              </a:spcAft>
            </a:pPr>
            <a:endParaRPr lang="de-DE" sz="1250">
              <a:solidFill>
                <a:srgbClr val="0C2340"/>
              </a:solidFill>
              <a:latin typeface="Interstate-LightCondensed" pitchFamily="2" charset="0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DAF97B4-FB73-558C-A554-31B1BDCE79D3}"/>
              </a:ext>
            </a:extLst>
          </p:cNvPr>
          <p:cNvGrpSpPr/>
          <p:nvPr/>
        </p:nvGrpSpPr>
        <p:grpSpPr>
          <a:xfrm>
            <a:off x="195872" y="1347940"/>
            <a:ext cx="4421406" cy="307777"/>
            <a:chOff x="1333577" y="942805"/>
            <a:chExt cx="2841449" cy="307777"/>
          </a:xfrm>
        </p:grpSpPr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65FA3FF1-7E8E-C0CF-38E6-ECC7C90E6544}"/>
                </a:ext>
              </a:extLst>
            </p:cNvPr>
            <p:cNvSpPr/>
            <p:nvPr/>
          </p:nvSpPr>
          <p:spPr bwMode="auto">
            <a:xfrm>
              <a:off x="1333577" y="968657"/>
              <a:ext cx="2841449" cy="256032"/>
            </a:xfrm>
            <a:prstGeom prst="roundRect">
              <a:avLst>
                <a:gd name="adj" fmla="val 50000"/>
              </a:avLst>
            </a:prstGeom>
            <a:solidFill>
              <a:srgbClr val="EB691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207112" fontAlgn="base">
                <a:spcBef>
                  <a:spcPct val="0"/>
                </a:spcBef>
                <a:spcAft>
                  <a:spcPct val="0"/>
                </a:spcAft>
              </a:pPr>
              <a:endParaRPr lang="de-DE" sz="1250" dirty="0">
                <a:solidFill>
                  <a:srgbClr val="0C2340"/>
                </a:solidFill>
                <a:latin typeface="Interstate-LightCondensed" pitchFamily="2" charset="0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6205D35C-B9B0-13E4-CBF9-C4347CAC9D95}"/>
                </a:ext>
              </a:extLst>
            </p:cNvPr>
            <p:cNvSpPr txBox="1"/>
            <p:nvPr/>
          </p:nvSpPr>
          <p:spPr>
            <a:xfrm>
              <a:off x="1436910" y="942805"/>
              <a:ext cx="2361485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2071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FFFFFF"/>
                  </a:solidFill>
                  <a:latin typeface="Interstate-RegularCondensed"/>
                </a:rPr>
                <a:t>STUDY DESIG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33BCBB2-A4DA-9CA7-A587-984DEC34E53D}"/>
              </a:ext>
            </a:extLst>
          </p:cNvPr>
          <p:cNvGrpSpPr/>
          <p:nvPr/>
        </p:nvGrpSpPr>
        <p:grpSpPr>
          <a:xfrm>
            <a:off x="4705350" y="1124930"/>
            <a:ext cx="7167115" cy="307777"/>
            <a:chOff x="13392461" y="4315104"/>
            <a:chExt cx="28946979" cy="1358708"/>
          </a:xfrm>
        </p:grpSpPr>
        <p:sp>
          <p:nvSpPr>
            <p:cNvPr id="35" name="Rechteck: abgerundete Ecken 4">
              <a:extLst>
                <a:ext uri="{FF2B5EF4-FFF2-40B4-BE49-F238E27FC236}">
                  <a16:creationId xmlns:a16="http://schemas.microsoft.com/office/drawing/2014/main" id="{54FC04F3-DC91-BC0C-B75F-96E8FD226C0F}"/>
                </a:ext>
              </a:extLst>
            </p:cNvPr>
            <p:cNvSpPr/>
            <p:nvPr/>
          </p:nvSpPr>
          <p:spPr bwMode="auto">
            <a:xfrm>
              <a:off x="13392461" y="4410106"/>
              <a:ext cx="28946979" cy="1130275"/>
            </a:xfrm>
            <a:prstGeom prst="roundRect">
              <a:avLst>
                <a:gd name="adj" fmla="val 50000"/>
              </a:avLst>
            </a:prstGeom>
            <a:solidFill>
              <a:srgbClr val="EB691C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207112" fontAlgn="base">
                <a:spcBef>
                  <a:spcPct val="0"/>
                </a:spcBef>
                <a:spcAft>
                  <a:spcPct val="0"/>
                </a:spcAft>
              </a:pPr>
              <a:endParaRPr lang="de-DE" sz="1250" dirty="0">
                <a:solidFill>
                  <a:srgbClr val="0C2340"/>
                </a:solidFill>
                <a:latin typeface="Interstate-LightCondensed" pitchFamily="2" charset="0"/>
              </a:endParaRPr>
            </a:p>
          </p:txBody>
        </p:sp>
        <p:sp>
          <p:nvSpPr>
            <p:cNvPr id="36" name="Textfeld 12">
              <a:extLst>
                <a:ext uri="{FF2B5EF4-FFF2-40B4-BE49-F238E27FC236}">
                  <a16:creationId xmlns:a16="http://schemas.microsoft.com/office/drawing/2014/main" id="{0EB67D79-675B-2275-59DC-4E0F1E763CE9}"/>
                </a:ext>
              </a:extLst>
            </p:cNvPr>
            <p:cNvSpPr txBox="1"/>
            <p:nvPr/>
          </p:nvSpPr>
          <p:spPr>
            <a:xfrm>
              <a:off x="13853137" y="4315104"/>
              <a:ext cx="10424974" cy="13587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2071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FFFFFF"/>
                  </a:solidFill>
                  <a:latin typeface="Interstate-RegularCondensed"/>
                </a:rPr>
                <a:t>RESULTS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4DF14AC-7B08-6763-1293-7AA97CAC0302}"/>
              </a:ext>
            </a:extLst>
          </p:cNvPr>
          <p:cNvGrpSpPr/>
          <p:nvPr/>
        </p:nvGrpSpPr>
        <p:grpSpPr>
          <a:xfrm>
            <a:off x="4708258" y="5665421"/>
            <a:ext cx="7164207" cy="843504"/>
            <a:chOff x="13218299" y="24825700"/>
            <a:chExt cx="30962853" cy="3723717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2FCABBCC-6260-1075-A8DB-58E1C45D0594}"/>
                </a:ext>
              </a:extLst>
            </p:cNvPr>
            <p:cNvSpPr txBox="1"/>
            <p:nvPr/>
          </p:nvSpPr>
          <p:spPr>
            <a:xfrm>
              <a:off x="13771993" y="26024493"/>
              <a:ext cx="27828780" cy="2524924"/>
            </a:xfrm>
            <a:prstGeom prst="rect">
              <a:avLst/>
            </a:prstGeom>
            <a:solidFill>
              <a:schemeClr val="bg1"/>
            </a:solidFill>
            <a:ln w="127000">
              <a:noFill/>
            </a:ln>
          </p:spPr>
          <p:txBody>
            <a:bodyPr wrap="square" rtlCol="0">
              <a:spAutoFit/>
            </a:bodyPr>
            <a:lstStyle/>
            <a:p>
              <a:pPr indent="182880" algn="just" defTabSz="207112" fontAlgn="base">
                <a:lnSpc>
                  <a:spcPct val="107000"/>
                </a:lnSpc>
                <a:buFont typeface="Arial" panose="020B0604020202020204" pitchFamily="34" charset="0"/>
                <a:buChar char="•"/>
              </a:pPr>
              <a:r>
                <a:rPr lang="en-US" sz="970" dirty="0">
                  <a:solidFill>
                    <a:srgbClr val="002754"/>
                  </a:solidFill>
                </a:rPr>
                <a:t>Patient clearance remained high 5 years after the last PDT</a:t>
              </a:r>
            </a:p>
            <a:p>
              <a:pPr indent="182880" algn="just" defTabSz="207112" fontAlgn="base">
                <a:lnSpc>
                  <a:spcPct val="107000"/>
                </a:lnSpc>
                <a:buFont typeface="Arial" panose="020B0604020202020204" pitchFamily="34" charset="0"/>
                <a:buChar char="•"/>
              </a:pPr>
              <a:r>
                <a:rPr lang="en-US" sz="970" dirty="0">
                  <a:solidFill>
                    <a:srgbClr val="002754"/>
                  </a:solidFill>
                </a:rPr>
                <a:t>Probability and sustainability of lesion clearance remained high throughout the entire follow-up</a:t>
              </a:r>
            </a:p>
            <a:p>
              <a:pPr indent="182880" algn="just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70" dirty="0">
                  <a:latin typeface="+mn-lt"/>
                </a:rPr>
                <a:t>PDT is an effective and sustainable treatment option for BCCs, and is under further investigation in a US phase-III-trial (NCT03573401)</a:t>
              </a: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E0978332-948E-8BC8-6387-A5A6471F8FF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813785" y="26184614"/>
              <a:ext cx="0" cy="2051999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460ECA81-8840-E9BE-C23F-E760531F3F2E}"/>
                </a:ext>
              </a:extLst>
            </p:cNvPr>
            <p:cNvGrpSpPr/>
            <p:nvPr/>
          </p:nvGrpSpPr>
          <p:grpSpPr>
            <a:xfrm>
              <a:off x="13218299" y="24825700"/>
              <a:ext cx="30962853" cy="1358708"/>
              <a:chOff x="13663520" y="4325505"/>
              <a:chExt cx="30833494" cy="1358708"/>
            </a:xfrm>
          </p:grpSpPr>
          <p:sp>
            <p:nvSpPr>
              <p:cNvPr id="41" name="Rechteck: abgerundete Ecken 4">
                <a:extLst>
                  <a:ext uri="{FF2B5EF4-FFF2-40B4-BE49-F238E27FC236}">
                    <a16:creationId xmlns:a16="http://schemas.microsoft.com/office/drawing/2014/main" id="{49C3CB4C-1C4F-842E-229C-62A8334F409A}"/>
                  </a:ext>
                </a:extLst>
              </p:cNvPr>
              <p:cNvSpPr/>
              <p:nvPr/>
            </p:nvSpPr>
            <p:spPr bwMode="auto">
              <a:xfrm>
                <a:off x="13663520" y="4483609"/>
                <a:ext cx="30833494" cy="1130275"/>
              </a:xfrm>
              <a:prstGeom prst="roundRect">
                <a:avLst>
                  <a:gd name="adj" fmla="val 50000"/>
                </a:avLst>
              </a:prstGeom>
              <a:solidFill>
                <a:srgbClr val="EB691C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 defTabSz="2071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50" dirty="0">
                  <a:solidFill>
                    <a:srgbClr val="0C2340"/>
                  </a:solidFill>
                  <a:latin typeface="Interstate-LightCondensed" pitchFamily="2" charset="0"/>
                </a:endParaRPr>
              </a:p>
            </p:txBody>
          </p:sp>
          <p:sp>
            <p:nvSpPr>
              <p:cNvPr id="42" name="Textfeld 12">
                <a:extLst>
                  <a:ext uri="{FF2B5EF4-FFF2-40B4-BE49-F238E27FC236}">
                    <a16:creationId xmlns:a16="http://schemas.microsoft.com/office/drawing/2014/main" id="{76BBDD48-C7F1-060A-07B4-8941431F116F}"/>
                  </a:ext>
                </a:extLst>
              </p:cNvPr>
              <p:cNvSpPr txBox="1"/>
              <p:nvPr/>
            </p:nvSpPr>
            <p:spPr>
              <a:xfrm>
                <a:off x="14025188" y="4325505"/>
                <a:ext cx="10424971" cy="13587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20711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rgbClr val="FFFFFF"/>
                    </a:solidFill>
                    <a:latin typeface="Interstate-RegularCondensed"/>
                  </a:rPr>
                  <a:t>CONCLUSION</a:t>
                </a:r>
              </a:p>
            </p:txBody>
          </p:sp>
        </p:grpSp>
      </p:grpSp>
      <p:cxnSp>
        <p:nvCxnSpPr>
          <p:cNvPr id="59" name="Gerader Verbinder 14">
            <a:extLst>
              <a:ext uri="{FF2B5EF4-FFF2-40B4-BE49-F238E27FC236}">
                <a16:creationId xmlns:a16="http://schemas.microsoft.com/office/drawing/2014/main" id="{DF49595E-1808-D13C-EC71-1B4127DF636C}"/>
              </a:ext>
            </a:extLst>
          </p:cNvPr>
          <p:cNvCxnSpPr>
            <a:cxnSpLocks/>
          </p:cNvCxnSpPr>
          <p:nvPr/>
        </p:nvCxnSpPr>
        <p:spPr bwMode="auto">
          <a:xfrm>
            <a:off x="-7047" y="6521520"/>
            <a:ext cx="6709772" cy="0"/>
          </a:xfrm>
          <a:prstGeom prst="line">
            <a:avLst/>
          </a:prstGeom>
          <a:ln w="12700">
            <a:solidFill>
              <a:srgbClr val="002754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0" name="Grafik 48" descr="Stethoskop mit einfarbiger Füllung">
            <a:extLst>
              <a:ext uri="{FF2B5EF4-FFF2-40B4-BE49-F238E27FC236}">
                <a16:creationId xmlns:a16="http://schemas.microsoft.com/office/drawing/2014/main" id="{BB56C62F-98BA-D2DB-A5AC-876EB48146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7697" y="1715618"/>
            <a:ext cx="274320" cy="274320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92D4C521-129F-2A8D-B68D-A84A15606D6B}"/>
              </a:ext>
            </a:extLst>
          </p:cNvPr>
          <p:cNvGrpSpPr/>
          <p:nvPr/>
        </p:nvGrpSpPr>
        <p:grpSpPr>
          <a:xfrm>
            <a:off x="8747869" y="6137844"/>
            <a:ext cx="3426880" cy="616222"/>
            <a:chOff x="8747869" y="6137844"/>
            <a:chExt cx="3426880" cy="616222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8708599-9ACC-9986-7EDA-7203F69C2621}"/>
                </a:ext>
              </a:extLst>
            </p:cNvPr>
            <p:cNvGrpSpPr/>
            <p:nvPr/>
          </p:nvGrpSpPr>
          <p:grpSpPr>
            <a:xfrm>
              <a:off x="11330364" y="6137844"/>
              <a:ext cx="844385" cy="607598"/>
              <a:chOff x="39878925" y="27245819"/>
              <a:chExt cx="3727608" cy="2682292"/>
            </a:xfrm>
          </p:grpSpPr>
          <p:pic>
            <p:nvPicPr>
              <p:cNvPr id="4" name="Grafik 3" descr="Ein Bild, das Muster, Pixel, Design enthält.&#10;&#10;Automatisch generierte Beschreibung">
                <a:extLst>
                  <a:ext uri="{FF2B5EF4-FFF2-40B4-BE49-F238E27FC236}">
                    <a16:creationId xmlns:a16="http://schemas.microsoft.com/office/drawing/2014/main" id="{3E87EB87-379E-218C-1E01-5D01BB74F9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607963" y="27824990"/>
                <a:ext cx="2103121" cy="2103121"/>
              </a:xfrm>
              <a:prstGeom prst="rect">
                <a:avLst/>
              </a:prstGeom>
            </p:spPr>
          </p:pic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428C4544-4280-5C7C-D898-DEBE40367CBF}"/>
                  </a:ext>
                </a:extLst>
              </p:cNvPr>
              <p:cNvSpPr txBox="1"/>
              <p:nvPr/>
            </p:nvSpPr>
            <p:spPr>
              <a:xfrm>
                <a:off x="39878925" y="27245819"/>
                <a:ext cx="3727608" cy="9510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20711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dirty="0">
                    <a:solidFill>
                      <a:srgbClr val="002754"/>
                    </a:solidFill>
                    <a:latin typeface="Interstate-RegularCondensed"/>
                  </a:rPr>
                  <a:t>ALA-BCC-CT008</a:t>
                </a:r>
                <a:endParaRPr lang="de-DE" sz="600" dirty="0">
                  <a:solidFill>
                    <a:srgbClr val="002754"/>
                  </a:solidFill>
                  <a:latin typeface="Interstate-RegularCondensed"/>
                </a:endParaRPr>
              </a:p>
            </p:txBody>
          </p:sp>
        </p:grpSp>
        <p:sp>
          <p:nvSpPr>
            <p:cNvPr id="63" name="Textfeld 10">
              <a:extLst>
                <a:ext uri="{FF2B5EF4-FFF2-40B4-BE49-F238E27FC236}">
                  <a16:creationId xmlns:a16="http://schemas.microsoft.com/office/drawing/2014/main" id="{03583A0E-9451-416A-D350-655526E66484}"/>
                </a:ext>
              </a:extLst>
            </p:cNvPr>
            <p:cNvSpPr txBox="1"/>
            <p:nvPr/>
          </p:nvSpPr>
          <p:spPr>
            <a:xfrm>
              <a:off x="8747869" y="6515539"/>
              <a:ext cx="2856316" cy="238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2071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50" dirty="0">
                  <a:solidFill>
                    <a:srgbClr val="002754"/>
                  </a:solidFill>
                </a:rPr>
                <a:t>This study was sponsored by Biofrontera Bioscience GmbH.</a:t>
              </a:r>
            </a:p>
          </p:txBody>
        </p:sp>
      </p:grpSp>
      <p:pic>
        <p:nvPicPr>
          <p:cNvPr id="76" name="Grafik 34" descr="Ein Bild, das dunkel, Nacht enthält.&#10;&#10;Automatisch generierte Beschreibung">
            <a:extLst>
              <a:ext uri="{FF2B5EF4-FFF2-40B4-BE49-F238E27FC236}">
                <a16:creationId xmlns:a16="http://schemas.microsoft.com/office/drawing/2014/main" id="{7581842B-5C96-23FF-C796-EE396E55C523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2524" t="12679" r="290" b="23924"/>
          <a:stretch/>
        </p:blipFill>
        <p:spPr>
          <a:xfrm>
            <a:off x="10720186" y="1787830"/>
            <a:ext cx="959298" cy="1388682"/>
          </a:xfrm>
          <a:prstGeom prst="rect">
            <a:avLst/>
          </a:prstGeom>
        </p:spPr>
      </p:pic>
      <p:grpSp>
        <p:nvGrpSpPr>
          <p:cNvPr id="1165" name="Group 1164">
            <a:extLst>
              <a:ext uri="{FF2B5EF4-FFF2-40B4-BE49-F238E27FC236}">
                <a16:creationId xmlns:a16="http://schemas.microsoft.com/office/drawing/2014/main" id="{D4B0C8A8-98A3-92F2-FDC5-2028F4CF659F}"/>
              </a:ext>
            </a:extLst>
          </p:cNvPr>
          <p:cNvGrpSpPr/>
          <p:nvPr/>
        </p:nvGrpSpPr>
        <p:grpSpPr>
          <a:xfrm>
            <a:off x="8345856" y="1414713"/>
            <a:ext cx="3528374" cy="2128059"/>
            <a:chOff x="8345856" y="1414713"/>
            <a:chExt cx="3528374" cy="2128059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8AA77C3-8335-5BBD-BBF0-88ECA572BFB7}"/>
                </a:ext>
              </a:extLst>
            </p:cNvPr>
            <p:cNvGrpSpPr/>
            <p:nvPr/>
          </p:nvGrpSpPr>
          <p:grpSpPr>
            <a:xfrm>
              <a:off x="8345856" y="1414713"/>
              <a:ext cx="3528374" cy="2128059"/>
              <a:chOff x="27247417" y="5634214"/>
              <a:chExt cx="15576303" cy="9394495"/>
            </a:xfrm>
          </p:grpSpPr>
          <p:sp>
            <p:nvSpPr>
              <p:cNvPr id="1140" name="Rechteck: abgerundete Ecken 1139">
                <a:extLst>
                  <a:ext uri="{FF2B5EF4-FFF2-40B4-BE49-F238E27FC236}">
                    <a16:creationId xmlns:a16="http://schemas.microsoft.com/office/drawing/2014/main" id="{1D9D1D69-2D01-3D7F-D70A-1308C10D071D}"/>
                  </a:ext>
                </a:extLst>
              </p:cNvPr>
              <p:cNvSpPr/>
              <p:nvPr/>
            </p:nvSpPr>
            <p:spPr bwMode="auto">
              <a:xfrm>
                <a:off x="27247417" y="5674585"/>
                <a:ext cx="15539804" cy="9284399"/>
              </a:xfrm>
              <a:prstGeom prst="roundRect">
                <a:avLst>
                  <a:gd name="adj" fmla="val 6490"/>
                </a:avLst>
              </a:prstGeom>
              <a:noFill/>
              <a:ln w="28575" cap="flat" cmpd="sng" algn="ctr">
                <a:solidFill>
                  <a:schemeClr val="accent3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 defTabSz="2071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50" dirty="0">
                  <a:solidFill>
                    <a:srgbClr val="0C2340"/>
                  </a:solidFill>
                  <a:latin typeface="+mj-lt"/>
                </a:endParaRPr>
              </a:p>
            </p:txBody>
          </p:sp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2C3C70D-8158-5B33-F85D-6FF7C3D8A1AF}"/>
                  </a:ext>
                </a:extLst>
              </p:cNvPr>
              <p:cNvSpPr txBox="1"/>
              <p:nvPr/>
            </p:nvSpPr>
            <p:spPr>
              <a:xfrm>
                <a:off x="27390379" y="13534134"/>
                <a:ext cx="15433341" cy="14945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defTabSz="207112" fontAlgn="base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rgbClr val="00071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 dirty="0">
                    <a:latin typeface="+mj-lt"/>
                  </a:rPr>
                  <a:t>Higher probability and sustainability of lesion clearance with </a:t>
                </a:r>
                <a:r>
                  <a:rPr lang="en-US" dirty="0" err="1">
                    <a:latin typeface="+mj-lt"/>
                  </a:rPr>
                  <a:t>sBCC</a:t>
                </a:r>
                <a:r>
                  <a:rPr lang="en-US" dirty="0">
                    <a:latin typeface="+mj-lt"/>
                  </a:rPr>
                  <a:t> than </a:t>
                </a:r>
                <a:r>
                  <a:rPr lang="en-US" dirty="0" err="1">
                    <a:latin typeface="+mj-lt"/>
                  </a:rPr>
                  <a:t>nBCC</a:t>
                </a:r>
                <a:endParaRPr lang="en-US" dirty="0">
                  <a:latin typeface="+mj-lt"/>
                </a:endParaRPr>
              </a:p>
              <a:p>
                <a:r>
                  <a:rPr lang="en-US" dirty="0">
                    <a:latin typeface="+mj-lt"/>
                  </a:rPr>
                  <a:t>Note: subgroup for </a:t>
                </a:r>
                <a:r>
                  <a:rPr lang="en-US" dirty="0" err="1">
                    <a:latin typeface="+mj-lt"/>
                  </a:rPr>
                  <a:t>nBCC</a:t>
                </a:r>
                <a:r>
                  <a:rPr lang="en-US" dirty="0">
                    <a:latin typeface="+mj-lt"/>
                  </a:rPr>
                  <a:t> was smaller </a:t>
                </a:r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602BB925-2B5A-900A-B54B-68147BF34A84}"/>
                  </a:ext>
                </a:extLst>
              </p:cNvPr>
              <p:cNvGrpSpPr/>
              <p:nvPr/>
            </p:nvGrpSpPr>
            <p:grpSpPr>
              <a:xfrm>
                <a:off x="27264547" y="5634214"/>
                <a:ext cx="15551386" cy="1330964"/>
                <a:chOff x="27264547" y="5209673"/>
                <a:chExt cx="15551386" cy="1330964"/>
              </a:xfrm>
            </p:grpSpPr>
            <p:grpSp>
              <p:nvGrpSpPr>
                <p:cNvPr id="39" name="Group 38">
                  <a:extLst>
                    <a:ext uri="{FF2B5EF4-FFF2-40B4-BE49-F238E27FC236}">
                      <a16:creationId xmlns:a16="http://schemas.microsoft.com/office/drawing/2014/main" id="{21043E9F-37E6-2DB8-E3ED-AF8E987BCF7F}"/>
                    </a:ext>
                  </a:extLst>
                </p:cNvPr>
                <p:cNvGrpSpPr/>
                <p:nvPr/>
              </p:nvGrpSpPr>
              <p:grpSpPr>
                <a:xfrm>
                  <a:off x="27264547" y="5236443"/>
                  <a:ext cx="15551386" cy="1296319"/>
                  <a:chOff x="27264547" y="5236443"/>
                  <a:chExt cx="15551386" cy="1296319"/>
                </a:xfrm>
              </p:grpSpPr>
              <p:sp>
                <p:nvSpPr>
                  <p:cNvPr id="240" name="Rechteck: abgerundete Ecken 239">
                    <a:extLst>
                      <a:ext uri="{FF2B5EF4-FFF2-40B4-BE49-F238E27FC236}">
                        <a16:creationId xmlns:a16="http://schemas.microsoft.com/office/drawing/2014/main" id="{E824325C-F23B-74D6-9732-D8EDF0F6E23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7276126" y="5236443"/>
                    <a:ext cx="15539807" cy="1260000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5FC4E1"/>
                  </a:solidFill>
                  <a:ln w="190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rtlCol="0" anchor="ctr"/>
                  <a:lstStyle/>
                  <a:p>
                    <a:pPr algn="ctr" defTabSz="20711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de-DE" sz="1250" dirty="0">
                      <a:solidFill>
                        <a:srgbClr val="0C2340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1134" name="Textfeld 1133">
                    <a:extLst>
                      <a:ext uri="{FF2B5EF4-FFF2-40B4-BE49-F238E27FC236}">
                        <a16:creationId xmlns:a16="http://schemas.microsoft.com/office/drawing/2014/main" id="{08400AC7-52F4-9FDE-F230-85F34EDB920A}"/>
                      </a:ext>
                    </a:extLst>
                  </p:cNvPr>
                  <p:cNvSpPr txBox="1"/>
                  <p:nvPr/>
                </p:nvSpPr>
                <p:spPr>
                  <a:xfrm>
                    <a:off x="28520695" y="5316832"/>
                    <a:ext cx="12655009" cy="1084984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defTabSz="20711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997" dirty="0">
                        <a:solidFill>
                          <a:srgbClr val="2A3F58"/>
                        </a:solidFill>
                        <a:latin typeface="+mj-lt"/>
                      </a:rPr>
                      <a:t>High probability and sustainability of lesion clearance</a:t>
                    </a:r>
                  </a:p>
                </p:txBody>
              </p:sp>
              <p:sp>
                <p:nvSpPr>
                  <p:cNvPr id="224" name="Ellipse 223">
                    <a:extLst>
                      <a:ext uri="{FF2B5EF4-FFF2-40B4-BE49-F238E27FC236}">
                        <a16:creationId xmlns:a16="http://schemas.microsoft.com/office/drawing/2014/main" id="{90CD2EBA-6DEA-23C5-D822-0D6DB8AD167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7264547" y="5272762"/>
                    <a:ext cx="1260002" cy="1260000"/>
                  </a:xfrm>
                  <a:prstGeom prst="ellipse">
                    <a:avLst/>
                  </a:prstGeom>
                  <a:solidFill>
                    <a:schemeClr val="bg2"/>
                  </a:solidFill>
                  <a:ln w="190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rtlCol="0" anchor="ctr"/>
                  <a:lstStyle/>
                  <a:p>
                    <a:pPr algn="ctr" defTabSz="20711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de-DE" sz="1250" b="1" dirty="0">
                      <a:solidFill>
                        <a:srgbClr val="FFFFFF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1143" name="Textfeld 1142">
                  <a:extLst>
                    <a:ext uri="{FF2B5EF4-FFF2-40B4-BE49-F238E27FC236}">
                      <a16:creationId xmlns:a16="http://schemas.microsoft.com/office/drawing/2014/main" id="{71669B6D-E802-F038-AAB0-90A5E14C980D}"/>
                    </a:ext>
                  </a:extLst>
                </p:cNvPr>
                <p:cNvSpPr txBox="1"/>
                <p:nvPr/>
              </p:nvSpPr>
              <p:spPr>
                <a:xfrm>
                  <a:off x="27344561" y="5209673"/>
                  <a:ext cx="1176133" cy="133096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20711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sz="1359" dirty="0">
                      <a:solidFill>
                        <a:srgbClr val="FFFFFF"/>
                      </a:solidFill>
                      <a:latin typeface="+mj-lt"/>
                    </a:rPr>
                    <a:t>3</a:t>
                  </a:r>
                </a:p>
              </p:txBody>
            </p:sp>
          </p:grpSp>
          <p:pic>
            <p:nvPicPr>
              <p:cNvPr id="48" name="Grafik 47" descr="Ein Bild, das Screenshot, Dunkelheit, Reihe, Nacht enthält.&#10;&#10;Automatisch generierte Beschreibung">
                <a:extLst>
                  <a:ext uri="{FF2B5EF4-FFF2-40B4-BE49-F238E27FC236}">
                    <a16:creationId xmlns:a16="http://schemas.microsoft.com/office/drawing/2014/main" id="{AD176EE7-60AC-7F37-4DC9-F99C830839C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3517"/>
              <a:stretch/>
            </p:blipFill>
            <p:spPr>
              <a:xfrm>
                <a:off x="27747064" y="6526710"/>
                <a:ext cx="10418974" cy="7341081"/>
              </a:xfrm>
              <a:prstGeom prst="rect">
                <a:avLst/>
              </a:prstGeom>
            </p:spPr>
          </p:pic>
        </p:grpSp>
        <p:sp>
          <p:nvSpPr>
            <p:cNvPr id="1163" name="Textfeld 3">
              <a:extLst>
                <a:ext uri="{FF2B5EF4-FFF2-40B4-BE49-F238E27FC236}">
                  <a16:creationId xmlns:a16="http://schemas.microsoft.com/office/drawing/2014/main" id="{8EAF4E09-3648-3674-3C6B-5B623B6FE572}"/>
                </a:ext>
              </a:extLst>
            </p:cNvPr>
            <p:cNvSpPr txBox="1"/>
            <p:nvPr/>
          </p:nvSpPr>
          <p:spPr>
            <a:xfrm rot="16200000">
              <a:off x="7974353" y="2275555"/>
              <a:ext cx="1311578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8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Probability and sustainability </a:t>
              </a:r>
            </a:p>
            <a:p>
              <a:pPr algn="ctr"/>
              <a:r>
                <a:rPr lang="en-US" sz="8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of lesion clearance (%)</a:t>
              </a:r>
            </a:p>
          </p:txBody>
        </p:sp>
      </p:grpSp>
      <p:sp>
        <p:nvSpPr>
          <p:cNvPr id="1166" name="Textfeld 4">
            <a:extLst>
              <a:ext uri="{FF2B5EF4-FFF2-40B4-BE49-F238E27FC236}">
                <a16:creationId xmlns:a16="http://schemas.microsoft.com/office/drawing/2014/main" id="{D88693F5-3E1D-EDFE-E5FA-E45BBE5CE953}"/>
              </a:ext>
            </a:extLst>
          </p:cNvPr>
          <p:cNvSpPr txBox="1"/>
          <p:nvPr/>
        </p:nvSpPr>
        <p:spPr>
          <a:xfrm>
            <a:off x="9253619" y="3083485"/>
            <a:ext cx="1059351" cy="123111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>
            <a:spAutoFit/>
          </a:bodyPr>
          <a:lstStyle/>
          <a:p>
            <a:pPr algn="ctr">
              <a:spcAft>
                <a:spcPts val="750"/>
              </a:spcAft>
            </a:pPr>
            <a:r>
              <a:rPr lang="en-US" sz="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follow-up (years)</a:t>
            </a:r>
            <a:endParaRPr lang="de-DE" sz="8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1181" name="Group 1180">
            <a:extLst>
              <a:ext uri="{FF2B5EF4-FFF2-40B4-BE49-F238E27FC236}">
                <a16:creationId xmlns:a16="http://schemas.microsoft.com/office/drawing/2014/main" id="{57882C61-C11D-494A-612F-9B746CFFFE11}"/>
              </a:ext>
            </a:extLst>
          </p:cNvPr>
          <p:cNvGrpSpPr/>
          <p:nvPr/>
        </p:nvGrpSpPr>
        <p:grpSpPr>
          <a:xfrm>
            <a:off x="8345664" y="3553268"/>
            <a:ext cx="3526802" cy="2129864"/>
            <a:chOff x="8345664" y="3553268"/>
            <a:chExt cx="3526802" cy="2129864"/>
          </a:xfrm>
        </p:grpSpPr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86BAB62-4B0D-C6C5-33A1-10F63475B625}"/>
                </a:ext>
              </a:extLst>
            </p:cNvPr>
            <p:cNvGrpSpPr/>
            <p:nvPr/>
          </p:nvGrpSpPr>
          <p:grpSpPr>
            <a:xfrm>
              <a:off x="8345664" y="3553268"/>
              <a:ext cx="3526802" cy="2129864"/>
              <a:chOff x="8345664" y="3553268"/>
              <a:chExt cx="3526802" cy="2129864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6DA4F061-5583-E33A-A3DE-5135BD04D521}"/>
                  </a:ext>
                </a:extLst>
              </p:cNvPr>
              <p:cNvGrpSpPr/>
              <p:nvPr/>
            </p:nvGrpSpPr>
            <p:grpSpPr>
              <a:xfrm>
                <a:off x="8345664" y="3553268"/>
                <a:ext cx="3526802" cy="2129864"/>
                <a:chOff x="27159020" y="15660269"/>
                <a:chExt cx="15569363" cy="9402464"/>
              </a:xfrm>
            </p:grpSpPr>
            <p:sp>
              <p:nvSpPr>
                <p:cNvPr id="50" name="Rechteck: abgerundete Ecken 49">
                  <a:extLst>
                    <a:ext uri="{FF2B5EF4-FFF2-40B4-BE49-F238E27FC236}">
                      <a16:creationId xmlns:a16="http://schemas.microsoft.com/office/drawing/2014/main" id="{4D21B89A-2334-BC5A-4551-A34430CD595A}"/>
                    </a:ext>
                  </a:extLst>
                </p:cNvPr>
                <p:cNvSpPr/>
                <p:nvPr/>
              </p:nvSpPr>
              <p:spPr bwMode="auto">
                <a:xfrm>
                  <a:off x="27159020" y="15837903"/>
                  <a:ext cx="15539803" cy="9161613"/>
                </a:xfrm>
                <a:prstGeom prst="roundRect">
                  <a:avLst>
                    <a:gd name="adj" fmla="val 6490"/>
                  </a:avLst>
                </a:prstGeom>
                <a:noFill/>
                <a:ln w="28575" cap="flat" cmpd="sng" algn="ctr">
                  <a:solidFill>
                    <a:schemeClr val="accent3">
                      <a:lumMod val="20000"/>
                      <a:lumOff val="8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20711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400" dirty="0">
                    <a:solidFill>
                      <a:srgbClr val="0C2340"/>
                    </a:solidFill>
                    <a:latin typeface="+mj-lt"/>
                  </a:endParaRPr>
                </a:p>
              </p:txBody>
            </p:sp>
            <p:sp>
              <p:nvSpPr>
                <p:cNvPr id="1124" name="Rechteck: abgerundete Ecken 1123">
                  <a:extLst>
                    <a:ext uri="{FF2B5EF4-FFF2-40B4-BE49-F238E27FC236}">
                      <a16:creationId xmlns:a16="http://schemas.microsoft.com/office/drawing/2014/main" id="{7DC86FFC-0ED7-7475-B3B6-31BBCF7096A4}"/>
                    </a:ext>
                  </a:extLst>
                </p:cNvPr>
                <p:cNvSpPr/>
                <p:nvPr/>
              </p:nvSpPr>
              <p:spPr bwMode="auto">
                <a:xfrm>
                  <a:off x="27159020" y="15751197"/>
                  <a:ext cx="15569363" cy="1260002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5FC4E1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20711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400" dirty="0">
                    <a:solidFill>
                      <a:srgbClr val="0C2340"/>
                    </a:solidFill>
                    <a:latin typeface="+mj-lt"/>
                  </a:endParaRPr>
                </a:p>
              </p:txBody>
            </p:sp>
            <p:sp>
              <p:nvSpPr>
                <p:cNvPr id="1127" name="Textfeld 1126">
                  <a:extLst>
                    <a:ext uri="{FF2B5EF4-FFF2-40B4-BE49-F238E27FC236}">
                      <a16:creationId xmlns:a16="http://schemas.microsoft.com/office/drawing/2014/main" id="{3884246D-222B-EE87-15E2-CDEF3BEABBC8}"/>
                    </a:ext>
                  </a:extLst>
                </p:cNvPr>
                <p:cNvSpPr txBox="1"/>
                <p:nvPr/>
              </p:nvSpPr>
              <p:spPr>
                <a:xfrm>
                  <a:off x="28414872" y="15837903"/>
                  <a:ext cx="14029940" cy="108696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defTabSz="20711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rgbClr val="2A3F58"/>
                      </a:solidFill>
                      <a:latin typeface="+mj-lt"/>
                    </a:rPr>
                    <a:t>M</a:t>
                  </a:r>
                  <a:r>
                    <a:rPr lang="en-US" sz="1000" dirty="0" err="1">
                      <a:solidFill>
                        <a:srgbClr val="2A3F58"/>
                      </a:solidFill>
                      <a:latin typeface="+mj-lt"/>
                    </a:rPr>
                    <a:t>ajority</a:t>
                  </a:r>
                  <a:r>
                    <a:rPr lang="en-US" sz="1000" dirty="0">
                      <a:solidFill>
                        <a:srgbClr val="2A3F58"/>
                      </a:solidFill>
                      <a:latin typeface="+mj-lt"/>
                    </a:rPr>
                    <a:t> of patients had Very Good or Good cosmetic outcome</a:t>
                  </a:r>
                </a:p>
              </p:txBody>
            </p:sp>
            <p:sp>
              <p:nvSpPr>
                <p:cNvPr id="238" name="Textfeld 237">
                  <a:extLst>
                    <a:ext uri="{FF2B5EF4-FFF2-40B4-BE49-F238E27FC236}">
                      <a16:creationId xmlns:a16="http://schemas.microsoft.com/office/drawing/2014/main" id="{6A96D82C-63A9-B2EC-AB5C-62534DBEA83B}"/>
                    </a:ext>
                  </a:extLst>
                </p:cNvPr>
                <p:cNvSpPr txBox="1"/>
                <p:nvPr/>
              </p:nvSpPr>
              <p:spPr>
                <a:xfrm>
                  <a:off x="27264749" y="23568158"/>
                  <a:ext cx="15196441" cy="149457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17893" defTabSz="207112" fontAlgn="base"/>
                  <a:r>
                    <a:rPr lang="en-GB" sz="800" dirty="0">
                      <a:solidFill>
                        <a:srgbClr val="000000"/>
                      </a:solidFill>
                      <a:latin typeface="+mj-lt"/>
                      <a:cs typeface="Arial" panose="020B0604020202020204" pitchFamily="34" charset="0"/>
                    </a:rPr>
                    <a:t>Over the course of the follow-up, rating </a:t>
                  </a:r>
                  <a:r>
                    <a:rPr lang="en-GB" sz="800" i="1" dirty="0">
                      <a:solidFill>
                        <a:srgbClr val="000000"/>
                      </a:solidFill>
                      <a:latin typeface="+mj-lt"/>
                      <a:cs typeface="Arial" panose="020B0604020202020204" pitchFamily="34" charset="0"/>
                    </a:rPr>
                    <a:t>very good  </a:t>
                  </a:r>
                  <a:r>
                    <a:rPr lang="en-GB" sz="800" dirty="0">
                      <a:solidFill>
                        <a:srgbClr val="000000"/>
                      </a:solidFill>
                      <a:latin typeface="+mj-lt"/>
                      <a:cs typeface="Arial" panose="020B0604020202020204" pitchFamily="34" charset="0"/>
                    </a:rPr>
                    <a:t>increased after PDT with 10% ALA gel but decreased after PDT with MAL cream.</a:t>
                  </a:r>
                </a:p>
              </p:txBody>
            </p:sp>
            <p:sp>
              <p:nvSpPr>
                <p:cNvPr id="226" name="Ellipse 225">
                  <a:extLst>
                    <a:ext uri="{FF2B5EF4-FFF2-40B4-BE49-F238E27FC236}">
                      <a16:creationId xmlns:a16="http://schemas.microsoft.com/office/drawing/2014/main" id="{58353AD9-3B2F-FB56-0010-D03F6D416EAB}"/>
                    </a:ext>
                  </a:extLst>
                </p:cNvPr>
                <p:cNvSpPr/>
                <p:nvPr/>
              </p:nvSpPr>
              <p:spPr bwMode="auto">
                <a:xfrm>
                  <a:off x="27195643" y="15750398"/>
                  <a:ext cx="1260002" cy="1260002"/>
                </a:xfrm>
                <a:prstGeom prst="ellipse">
                  <a:avLst/>
                </a:prstGeom>
                <a:solidFill>
                  <a:schemeClr val="bg2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20711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400" b="1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146" name="Textfeld 1145">
                  <a:extLst>
                    <a:ext uri="{FF2B5EF4-FFF2-40B4-BE49-F238E27FC236}">
                      <a16:creationId xmlns:a16="http://schemas.microsoft.com/office/drawing/2014/main" id="{F44A4D31-35BF-2F76-EAE3-4B6AA4308861}"/>
                    </a:ext>
                  </a:extLst>
                </p:cNvPr>
                <p:cNvSpPr txBox="1"/>
                <p:nvPr/>
              </p:nvSpPr>
              <p:spPr>
                <a:xfrm>
                  <a:off x="27196279" y="15660269"/>
                  <a:ext cx="1190287" cy="135870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20711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sz="1400" dirty="0">
                      <a:solidFill>
                        <a:srgbClr val="FFFFFF"/>
                      </a:solidFill>
                      <a:latin typeface="+mj-lt"/>
                    </a:rPr>
                    <a:t>4</a:t>
                  </a:r>
                </a:p>
              </p:txBody>
            </p:sp>
            <p:pic>
              <p:nvPicPr>
                <p:cNvPr id="22" name="Grafik 21">
                  <a:extLst>
                    <a:ext uri="{FF2B5EF4-FFF2-40B4-BE49-F238E27FC236}">
                      <a16:creationId xmlns:a16="http://schemas.microsoft.com/office/drawing/2014/main" id="{BE5BCD41-1EBE-1760-2A4C-F36BF64F95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/>
                <a:srcRect l="3824" t="12354" r="19024" b="7130"/>
                <a:stretch/>
              </p:blipFill>
              <p:spPr>
                <a:xfrm>
                  <a:off x="28919874" y="17726753"/>
                  <a:ext cx="9531833" cy="5534317"/>
                </a:xfrm>
                <a:prstGeom prst="rect">
                  <a:avLst/>
                </a:prstGeom>
              </p:spPr>
            </p:pic>
          </p:grp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D9B7D60E-023D-E4E4-68CB-4C9B9C215CB0}"/>
                  </a:ext>
                </a:extLst>
              </p:cNvPr>
              <p:cNvSpPr txBox="1"/>
              <p:nvPr/>
            </p:nvSpPr>
            <p:spPr>
              <a:xfrm>
                <a:off x="9077243" y="3845749"/>
                <a:ext cx="71686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900" dirty="0">
                    <a:latin typeface="+mj-lt"/>
                  </a:rPr>
                  <a:t>10% ALA gel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A77C71AE-0DCE-5503-2F75-F314E4E0F5AB}"/>
                  </a:ext>
                </a:extLst>
              </p:cNvPr>
              <p:cNvSpPr txBox="1"/>
              <p:nvPr/>
            </p:nvSpPr>
            <p:spPr>
              <a:xfrm>
                <a:off x="10122837" y="3841251"/>
                <a:ext cx="651140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900" dirty="0">
                    <a:latin typeface="+mj-lt"/>
                  </a:rPr>
                  <a:t>MAL cream</a:t>
                </a:r>
              </a:p>
            </p:txBody>
          </p:sp>
        </p:grpSp>
        <p:grpSp>
          <p:nvGrpSpPr>
            <p:cNvPr id="1141" name="Group 1140">
              <a:extLst>
                <a:ext uri="{FF2B5EF4-FFF2-40B4-BE49-F238E27FC236}">
                  <a16:creationId xmlns:a16="http://schemas.microsoft.com/office/drawing/2014/main" id="{DB21A15D-350C-1AA6-13A2-F3F3A9732FFE}"/>
                </a:ext>
              </a:extLst>
            </p:cNvPr>
            <p:cNvGrpSpPr/>
            <p:nvPr/>
          </p:nvGrpSpPr>
          <p:grpSpPr>
            <a:xfrm>
              <a:off x="11052734" y="3986721"/>
              <a:ext cx="771921" cy="914998"/>
              <a:chOff x="36929866" y="22767660"/>
              <a:chExt cx="2844359" cy="3290166"/>
            </a:xfrm>
          </p:grpSpPr>
          <p:grpSp>
            <p:nvGrpSpPr>
              <p:cNvPr id="1144" name="Group 1143">
                <a:extLst>
                  <a:ext uri="{FF2B5EF4-FFF2-40B4-BE49-F238E27FC236}">
                    <a16:creationId xmlns:a16="http://schemas.microsoft.com/office/drawing/2014/main" id="{BF3C015D-5747-0D17-B56B-F2B9B4C00D7E}"/>
                  </a:ext>
                </a:extLst>
              </p:cNvPr>
              <p:cNvGrpSpPr/>
              <p:nvPr/>
            </p:nvGrpSpPr>
            <p:grpSpPr>
              <a:xfrm>
                <a:off x="36929866" y="22767660"/>
                <a:ext cx="2844322" cy="774698"/>
                <a:chOff x="36929866" y="22767660"/>
                <a:chExt cx="2844322" cy="774698"/>
              </a:xfrm>
            </p:grpSpPr>
            <p:sp>
              <p:nvSpPr>
                <p:cNvPr id="1160" name="Rectangle 1159">
                  <a:extLst>
                    <a:ext uri="{FF2B5EF4-FFF2-40B4-BE49-F238E27FC236}">
                      <a16:creationId xmlns:a16="http://schemas.microsoft.com/office/drawing/2014/main" id="{FC25AE3E-A85D-162E-28F7-F32805322F68}"/>
                    </a:ext>
                  </a:extLst>
                </p:cNvPr>
                <p:cNvSpPr/>
                <p:nvPr/>
              </p:nvSpPr>
              <p:spPr bwMode="auto">
                <a:xfrm>
                  <a:off x="36929866" y="23041967"/>
                  <a:ext cx="274320" cy="274320"/>
                </a:xfrm>
                <a:prstGeom prst="rect">
                  <a:avLst/>
                </a:prstGeom>
                <a:solidFill>
                  <a:srgbClr val="FFB3B3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en-US" sz="80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1" name="Textfeld 4">
                  <a:extLst>
                    <a:ext uri="{FF2B5EF4-FFF2-40B4-BE49-F238E27FC236}">
                      <a16:creationId xmlns:a16="http://schemas.microsoft.com/office/drawing/2014/main" id="{33D2C7DB-4873-6D35-1BC1-937BBE9283B8}"/>
                    </a:ext>
                  </a:extLst>
                </p:cNvPr>
                <p:cNvSpPr txBox="1"/>
                <p:nvPr/>
              </p:nvSpPr>
              <p:spPr>
                <a:xfrm>
                  <a:off x="37058793" y="22767660"/>
                  <a:ext cx="2715395" cy="77469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spcAft>
                      <a:spcPts val="750"/>
                    </a:spcAft>
                  </a:pPr>
                  <a:r>
                    <a:rPr lang="de-DE" sz="800" dirty="0">
                      <a:solidFill>
                        <a:srgbClr val="000000"/>
                      </a:solidFill>
                      <a:latin typeface="+mj-lt"/>
                      <a:ea typeface="Calibri" panose="020F0502020204030204" pitchFamily="34" charset="0"/>
                      <a:cs typeface="Arial" panose="020B0604020202020204" pitchFamily="34" charset="0"/>
                    </a:rPr>
                    <a:t>impaired</a:t>
                  </a:r>
                </a:p>
              </p:txBody>
            </p:sp>
          </p:grpSp>
          <p:grpSp>
            <p:nvGrpSpPr>
              <p:cNvPr id="1147" name="Group 1146">
                <a:extLst>
                  <a:ext uri="{FF2B5EF4-FFF2-40B4-BE49-F238E27FC236}">
                    <a16:creationId xmlns:a16="http://schemas.microsoft.com/office/drawing/2014/main" id="{74DED76F-5390-F03E-5519-7F66842FA205}"/>
                  </a:ext>
                </a:extLst>
              </p:cNvPr>
              <p:cNvGrpSpPr/>
              <p:nvPr/>
            </p:nvGrpSpPr>
            <p:grpSpPr>
              <a:xfrm>
                <a:off x="36929866" y="23396532"/>
                <a:ext cx="2844339" cy="774696"/>
                <a:chOff x="36929866" y="23396532"/>
                <a:chExt cx="2844339" cy="774696"/>
              </a:xfrm>
            </p:grpSpPr>
            <p:sp>
              <p:nvSpPr>
                <p:cNvPr id="1158" name="Rectangle 1157">
                  <a:extLst>
                    <a:ext uri="{FF2B5EF4-FFF2-40B4-BE49-F238E27FC236}">
                      <a16:creationId xmlns:a16="http://schemas.microsoft.com/office/drawing/2014/main" id="{09CFCE4E-B8FF-CD18-D54C-515121D1690E}"/>
                    </a:ext>
                  </a:extLst>
                </p:cNvPr>
                <p:cNvSpPr/>
                <p:nvPr/>
              </p:nvSpPr>
              <p:spPr bwMode="auto">
                <a:xfrm>
                  <a:off x="36929866" y="23707991"/>
                  <a:ext cx="274321" cy="274322"/>
                </a:xfrm>
                <a:prstGeom prst="rect">
                  <a:avLst/>
                </a:prstGeom>
                <a:solidFill>
                  <a:srgbClr val="F9DCBF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en-US" sz="80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9" name="Textfeld 4">
                  <a:extLst>
                    <a:ext uri="{FF2B5EF4-FFF2-40B4-BE49-F238E27FC236}">
                      <a16:creationId xmlns:a16="http://schemas.microsoft.com/office/drawing/2014/main" id="{A089E71C-E7D2-B6BA-3CDF-638059AAD86B}"/>
                    </a:ext>
                  </a:extLst>
                </p:cNvPr>
                <p:cNvSpPr txBox="1"/>
                <p:nvPr/>
              </p:nvSpPr>
              <p:spPr>
                <a:xfrm>
                  <a:off x="37058807" y="23396532"/>
                  <a:ext cx="2715398" cy="7746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spcAft>
                      <a:spcPts val="750"/>
                    </a:spcAft>
                  </a:pPr>
                  <a:r>
                    <a:rPr lang="de-DE" sz="800" dirty="0">
                      <a:solidFill>
                        <a:srgbClr val="000000"/>
                      </a:solidFill>
                      <a:latin typeface="+mj-lt"/>
                      <a:ea typeface="Calibri" panose="020F0502020204030204" pitchFamily="34" charset="0"/>
                      <a:cs typeface="Arial" panose="020B0604020202020204" pitchFamily="34" charset="0"/>
                    </a:rPr>
                    <a:t>unsatisfactory</a:t>
                  </a:r>
                </a:p>
              </p:txBody>
            </p:sp>
          </p:grpSp>
          <p:grpSp>
            <p:nvGrpSpPr>
              <p:cNvPr id="1148" name="Group 1147">
                <a:extLst>
                  <a:ext uri="{FF2B5EF4-FFF2-40B4-BE49-F238E27FC236}">
                    <a16:creationId xmlns:a16="http://schemas.microsoft.com/office/drawing/2014/main" id="{466693B3-72E5-3713-1B1A-182F55AFC032}"/>
                  </a:ext>
                </a:extLst>
              </p:cNvPr>
              <p:cNvGrpSpPr/>
              <p:nvPr/>
            </p:nvGrpSpPr>
            <p:grpSpPr>
              <a:xfrm>
                <a:off x="36929866" y="24025399"/>
                <a:ext cx="2844351" cy="774698"/>
                <a:chOff x="36929866" y="24025399"/>
                <a:chExt cx="2844351" cy="774698"/>
              </a:xfrm>
            </p:grpSpPr>
            <p:sp>
              <p:nvSpPr>
                <p:cNvPr id="1156" name="Rectangle 1155">
                  <a:extLst>
                    <a:ext uri="{FF2B5EF4-FFF2-40B4-BE49-F238E27FC236}">
                      <a16:creationId xmlns:a16="http://schemas.microsoft.com/office/drawing/2014/main" id="{B7E4162E-6202-98A2-A480-50842BD7DCEE}"/>
                    </a:ext>
                  </a:extLst>
                </p:cNvPr>
                <p:cNvSpPr/>
                <p:nvPr/>
              </p:nvSpPr>
              <p:spPr bwMode="auto">
                <a:xfrm>
                  <a:off x="36929866" y="24342701"/>
                  <a:ext cx="274321" cy="274322"/>
                </a:xfrm>
                <a:prstGeom prst="rect">
                  <a:avLst/>
                </a:prstGeom>
                <a:solidFill>
                  <a:srgbClr val="D9D9D9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en-US" sz="80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7" name="Textfeld 4">
                  <a:extLst>
                    <a:ext uri="{FF2B5EF4-FFF2-40B4-BE49-F238E27FC236}">
                      <a16:creationId xmlns:a16="http://schemas.microsoft.com/office/drawing/2014/main" id="{34B251F5-108F-1375-6D1D-FEACF58B943D}"/>
                    </a:ext>
                  </a:extLst>
                </p:cNvPr>
                <p:cNvSpPr txBox="1"/>
                <p:nvPr/>
              </p:nvSpPr>
              <p:spPr>
                <a:xfrm>
                  <a:off x="37058822" y="24025399"/>
                  <a:ext cx="2715395" cy="77469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spcAft>
                      <a:spcPts val="750"/>
                    </a:spcAft>
                  </a:pPr>
                  <a:r>
                    <a:rPr lang="de-DE" sz="800" dirty="0">
                      <a:solidFill>
                        <a:srgbClr val="000000"/>
                      </a:solidFill>
                      <a:latin typeface="+mj-lt"/>
                      <a:ea typeface="Calibri" panose="020F0502020204030204" pitchFamily="34" charset="0"/>
                      <a:cs typeface="Arial" panose="020B0604020202020204" pitchFamily="34" charset="0"/>
                    </a:rPr>
                    <a:t>satisfactory</a:t>
                  </a:r>
                </a:p>
              </p:txBody>
            </p:sp>
          </p:grpSp>
          <p:grpSp>
            <p:nvGrpSpPr>
              <p:cNvPr id="1149" name="Group 1148">
                <a:extLst>
                  <a:ext uri="{FF2B5EF4-FFF2-40B4-BE49-F238E27FC236}">
                    <a16:creationId xmlns:a16="http://schemas.microsoft.com/office/drawing/2014/main" id="{CBB247EF-E7B8-0EAF-C20D-CB5E5EE3AF55}"/>
                  </a:ext>
                </a:extLst>
              </p:cNvPr>
              <p:cNvGrpSpPr/>
              <p:nvPr/>
            </p:nvGrpSpPr>
            <p:grpSpPr>
              <a:xfrm>
                <a:off x="36929866" y="24654263"/>
                <a:ext cx="2844355" cy="774697"/>
                <a:chOff x="36929866" y="24654263"/>
                <a:chExt cx="2844355" cy="774697"/>
              </a:xfrm>
            </p:grpSpPr>
            <p:sp>
              <p:nvSpPr>
                <p:cNvPr id="1154" name="Rectangle 1153">
                  <a:extLst>
                    <a:ext uri="{FF2B5EF4-FFF2-40B4-BE49-F238E27FC236}">
                      <a16:creationId xmlns:a16="http://schemas.microsoft.com/office/drawing/2014/main" id="{6102F300-8AC4-CDAA-9A2B-50B95D94FFCD}"/>
                    </a:ext>
                  </a:extLst>
                </p:cNvPr>
                <p:cNvSpPr/>
                <p:nvPr/>
              </p:nvSpPr>
              <p:spPr bwMode="auto">
                <a:xfrm>
                  <a:off x="36929866" y="24977412"/>
                  <a:ext cx="274321" cy="274321"/>
                </a:xfrm>
                <a:prstGeom prst="rect">
                  <a:avLst/>
                </a:prstGeom>
                <a:solidFill>
                  <a:srgbClr val="92D050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en-US" sz="800" dirty="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5" name="Textfeld 4">
                  <a:extLst>
                    <a:ext uri="{FF2B5EF4-FFF2-40B4-BE49-F238E27FC236}">
                      <a16:creationId xmlns:a16="http://schemas.microsoft.com/office/drawing/2014/main" id="{882CE6E5-2754-CEBD-B07D-194B21B6C469}"/>
                    </a:ext>
                  </a:extLst>
                </p:cNvPr>
                <p:cNvSpPr txBox="1"/>
                <p:nvPr/>
              </p:nvSpPr>
              <p:spPr>
                <a:xfrm>
                  <a:off x="37058826" y="24654263"/>
                  <a:ext cx="2715395" cy="77469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spcAft>
                      <a:spcPts val="750"/>
                    </a:spcAft>
                  </a:pPr>
                  <a:r>
                    <a:rPr lang="de-DE" sz="800" dirty="0">
                      <a:solidFill>
                        <a:srgbClr val="000000"/>
                      </a:solidFill>
                      <a:latin typeface="+mj-lt"/>
                      <a:ea typeface="Calibri" panose="020F0502020204030204" pitchFamily="34" charset="0"/>
                      <a:cs typeface="Arial" panose="020B0604020202020204" pitchFamily="34" charset="0"/>
                    </a:rPr>
                    <a:t>good</a:t>
                  </a:r>
                </a:p>
              </p:txBody>
            </p:sp>
          </p:grpSp>
          <p:grpSp>
            <p:nvGrpSpPr>
              <p:cNvPr id="1151" name="Group 1150">
                <a:extLst>
                  <a:ext uri="{FF2B5EF4-FFF2-40B4-BE49-F238E27FC236}">
                    <a16:creationId xmlns:a16="http://schemas.microsoft.com/office/drawing/2014/main" id="{3D1A4117-96D6-1604-2C1D-2DD5075772E2}"/>
                  </a:ext>
                </a:extLst>
              </p:cNvPr>
              <p:cNvGrpSpPr/>
              <p:nvPr/>
            </p:nvGrpSpPr>
            <p:grpSpPr>
              <a:xfrm>
                <a:off x="36929866" y="25283129"/>
                <a:ext cx="2844359" cy="774697"/>
                <a:chOff x="36929866" y="25283129"/>
                <a:chExt cx="2844359" cy="774697"/>
              </a:xfrm>
            </p:grpSpPr>
            <p:sp>
              <p:nvSpPr>
                <p:cNvPr id="1152" name="Rectangle 1151">
                  <a:extLst>
                    <a:ext uri="{FF2B5EF4-FFF2-40B4-BE49-F238E27FC236}">
                      <a16:creationId xmlns:a16="http://schemas.microsoft.com/office/drawing/2014/main" id="{DF50B7D7-21FE-4011-B6F4-A9B0931474BE}"/>
                    </a:ext>
                  </a:extLst>
                </p:cNvPr>
                <p:cNvSpPr/>
                <p:nvPr/>
              </p:nvSpPr>
              <p:spPr bwMode="auto">
                <a:xfrm>
                  <a:off x="36929866" y="25612128"/>
                  <a:ext cx="274321" cy="274321"/>
                </a:xfrm>
                <a:prstGeom prst="rect">
                  <a:avLst/>
                </a:prstGeom>
                <a:solidFill>
                  <a:srgbClr val="00B050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en-US" sz="800" dirty="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3" name="Textfeld 4">
                  <a:extLst>
                    <a:ext uri="{FF2B5EF4-FFF2-40B4-BE49-F238E27FC236}">
                      <a16:creationId xmlns:a16="http://schemas.microsoft.com/office/drawing/2014/main" id="{9E410E97-7528-7394-36E8-6A4EE0EAE67A}"/>
                    </a:ext>
                  </a:extLst>
                </p:cNvPr>
                <p:cNvSpPr txBox="1"/>
                <p:nvPr/>
              </p:nvSpPr>
              <p:spPr>
                <a:xfrm>
                  <a:off x="37058833" y="25283129"/>
                  <a:ext cx="2715392" cy="77469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spcAft>
                      <a:spcPts val="750"/>
                    </a:spcAft>
                  </a:pPr>
                  <a:r>
                    <a:rPr lang="de-DE" sz="800" dirty="0">
                      <a:solidFill>
                        <a:srgbClr val="000000"/>
                      </a:solidFill>
                      <a:latin typeface="+mj-lt"/>
                      <a:ea typeface="Calibri" panose="020F0502020204030204" pitchFamily="34" charset="0"/>
                      <a:cs typeface="Arial" panose="020B0604020202020204" pitchFamily="34" charset="0"/>
                    </a:rPr>
                    <a:t>very good</a:t>
                  </a:r>
                </a:p>
              </p:txBody>
            </p:sp>
          </p:grpSp>
        </p:grpSp>
        <p:sp>
          <p:nvSpPr>
            <p:cNvPr id="1167" name="Textfeld 4">
              <a:extLst>
                <a:ext uri="{FF2B5EF4-FFF2-40B4-BE49-F238E27FC236}">
                  <a16:creationId xmlns:a16="http://schemas.microsoft.com/office/drawing/2014/main" id="{DD13F6B6-874D-63B1-C476-0DA5C72AB72A}"/>
                </a:ext>
              </a:extLst>
            </p:cNvPr>
            <p:cNvSpPr txBox="1"/>
            <p:nvPr/>
          </p:nvSpPr>
          <p:spPr>
            <a:xfrm>
              <a:off x="9343202" y="5257598"/>
              <a:ext cx="1059351" cy="1231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 bIns="0">
              <a:spAutoFit/>
            </a:bodyPr>
            <a:lstStyle/>
            <a:p>
              <a:pPr algn="ctr">
                <a:spcAft>
                  <a:spcPts val="750"/>
                </a:spcAft>
              </a:pPr>
              <a:r>
                <a:rPr lang="en-US" sz="8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follow-up (years)</a:t>
              </a:r>
              <a:endParaRPr lang="de-DE" sz="8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8" name="Textfeld 3">
              <a:extLst>
                <a:ext uri="{FF2B5EF4-FFF2-40B4-BE49-F238E27FC236}">
                  <a16:creationId xmlns:a16="http://schemas.microsoft.com/office/drawing/2014/main" id="{84FAF50C-90AF-2A19-5BA5-1C11709C5A89}"/>
                </a:ext>
              </a:extLst>
            </p:cNvPr>
            <p:cNvSpPr txBox="1"/>
            <p:nvPr/>
          </p:nvSpPr>
          <p:spPr>
            <a:xfrm rot="16200000">
              <a:off x="8390986" y="4547167"/>
              <a:ext cx="563811" cy="1231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Patients</a:t>
              </a:r>
            </a:p>
          </p:txBody>
        </p:sp>
        <p:sp>
          <p:nvSpPr>
            <p:cNvPr id="1169" name="Textfeld 46">
              <a:extLst>
                <a:ext uri="{FF2B5EF4-FFF2-40B4-BE49-F238E27FC236}">
                  <a16:creationId xmlns:a16="http://schemas.microsoft.com/office/drawing/2014/main" id="{7653F8B4-0283-BF64-49EB-DD29C0168694}"/>
                </a:ext>
              </a:extLst>
            </p:cNvPr>
            <p:cNvSpPr txBox="1"/>
            <p:nvPr/>
          </p:nvSpPr>
          <p:spPr>
            <a:xfrm>
              <a:off x="8980240" y="3884893"/>
              <a:ext cx="776175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tIns="0" bIns="0" rtlCol="0">
              <a:spAutoFit/>
            </a:bodyPr>
            <a:lstStyle/>
            <a:p>
              <a:r>
                <a:rPr lang="de-DE" sz="10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10% ALA gel</a:t>
              </a:r>
            </a:p>
          </p:txBody>
        </p:sp>
        <p:sp>
          <p:nvSpPr>
            <p:cNvPr id="1170" name="Textfeld 46">
              <a:extLst>
                <a:ext uri="{FF2B5EF4-FFF2-40B4-BE49-F238E27FC236}">
                  <a16:creationId xmlns:a16="http://schemas.microsoft.com/office/drawing/2014/main" id="{4B59D6CF-CC6D-0AB0-80E2-F09D544612C7}"/>
                </a:ext>
              </a:extLst>
            </p:cNvPr>
            <p:cNvSpPr txBox="1"/>
            <p:nvPr/>
          </p:nvSpPr>
          <p:spPr>
            <a:xfrm>
              <a:off x="10023051" y="3885781"/>
              <a:ext cx="704039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tIns="0" bIns="0" rtlCol="0">
              <a:spAutoFit/>
            </a:bodyPr>
            <a:lstStyle/>
            <a:p>
              <a:r>
                <a:rPr lang="de-DE" sz="10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MAL cream</a:t>
              </a:r>
            </a:p>
          </p:txBody>
        </p:sp>
      </p:grpSp>
      <p:grpSp>
        <p:nvGrpSpPr>
          <p:cNvPr id="1180" name="Group 1179">
            <a:extLst>
              <a:ext uri="{FF2B5EF4-FFF2-40B4-BE49-F238E27FC236}">
                <a16:creationId xmlns:a16="http://schemas.microsoft.com/office/drawing/2014/main" id="{59B3B843-3287-0189-DC51-D369CADB0F77}"/>
              </a:ext>
            </a:extLst>
          </p:cNvPr>
          <p:cNvGrpSpPr/>
          <p:nvPr/>
        </p:nvGrpSpPr>
        <p:grpSpPr>
          <a:xfrm>
            <a:off x="4718999" y="3543642"/>
            <a:ext cx="3539253" cy="2150367"/>
            <a:chOff x="4718999" y="3543642"/>
            <a:chExt cx="3539253" cy="215036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246ED7A-B7C7-C3C3-8008-7B781B2CAFCD}"/>
                </a:ext>
              </a:extLst>
            </p:cNvPr>
            <p:cNvGrpSpPr/>
            <p:nvPr/>
          </p:nvGrpSpPr>
          <p:grpSpPr>
            <a:xfrm>
              <a:off x="4718999" y="3543642"/>
              <a:ext cx="3539253" cy="2150367"/>
              <a:chOff x="4718999" y="3543642"/>
              <a:chExt cx="3539253" cy="2150367"/>
            </a:xfrm>
          </p:grpSpPr>
          <p:sp>
            <p:nvSpPr>
              <p:cNvPr id="3" name="Rechteck: abgerundete Ecken 49">
                <a:extLst>
                  <a:ext uri="{FF2B5EF4-FFF2-40B4-BE49-F238E27FC236}">
                    <a16:creationId xmlns:a16="http://schemas.microsoft.com/office/drawing/2014/main" id="{0E27613D-1C6F-5BB7-A156-9AD7D6FC38A2}"/>
                  </a:ext>
                </a:extLst>
              </p:cNvPr>
              <p:cNvSpPr/>
              <p:nvPr/>
            </p:nvSpPr>
            <p:spPr bwMode="auto">
              <a:xfrm>
                <a:off x="4727823" y="3572367"/>
                <a:ext cx="3520106" cy="2102760"/>
              </a:xfrm>
              <a:prstGeom prst="roundRect">
                <a:avLst>
                  <a:gd name="adj" fmla="val 6490"/>
                </a:avLst>
              </a:prstGeom>
              <a:noFill/>
              <a:ln w="28575" cap="flat" cmpd="sng" algn="ctr">
                <a:solidFill>
                  <a:schemeClr val="accent3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 defTabSz="2071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50" dirty="0">
                  <a:solidFill>
                    <a:srgbClr val="0C2340"/>
                  </a:solidFill>
                  <a:latin typeface="Interstate-LightCondensed" pitchFamily="2" charset="0"/>
                </a:endParaRPr>
              </a:p>
            </p:txBody>
          </p: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42D0CDC1-8FCC-DBF4-45BA-B86019718777}"/>
                  </a:ext>
                </a:extLst>
              </p:cNvPr>
              <p:cNvGrpSpPr/>
              <p:nvPr/>
            </p:nvGrpSpPr>
            <p:grpSpPr>
              <a:xfrm>
                <a:off x="4718999" y="3543642"/>
                <a:ext cx="3539253" cy="2150367"/>
                <a:chOff x="11789868" y="15370838"/>
                <a:chExt cx="15624328" cy="9492974"/>
              </a:xfrm>
            </p:grpSpPr>
            <p:sp>
              <p:nvSpPr>
                <p:cNvPr id="1129" name="Rechteck: abgerundete Ecken 1128">
                  <a:extLst>
                    <a:ext uri="{FF2B5EF4-FFF2-40B4-BE49-F238E27FC236}">
                      <a16:creationId xmlns:a16="http://schemas.microsoft.com/office/drawing/2014/main" id="{60ED9598-D2CF-79F4-530C-0B4790754439}"/>
                    </a:ext>
                  </a:extLst>
                </p:cNvPr>
                <p:cNvSpPr/>
                <p:nvPr/>
              </p:nvSpPr>
              <p:spPr bwMode="auto">
                <a:xfrm>
                  <a:off x="11844834" y="15511818"/>
                  <a:ext cx="15569362" cy="1242445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5FC4E1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20711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250" dirty="0">
                    <a:solidFill>
                      <a:srgbClr val="FFFFFF"/>
                    </a:solidFill>
                    <a:latin typeface="Interstate-LightCondensed" pitchFamily="2" charset="0"/>
                  </a:endParaRPr>
                </a:p>
              </p:txBody>
            </p:sp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53A7247F-A319-1054-AE64-D0CC7B128990}"/>
                    </a:ext>
                  </a:extLst>
                </p:cNvPr>
                <p:cNvGrpSpPr/>
                <p:nvPr/>
              </p:nvGrpSpPr>
              <p:grpSpPr>
                <a:xfrm>
                  <a:off x="11789868" y="15370838"/>
                  <a:ext cx="15352314" cy="9492974"/>
                  <a:chOff x="11789866" y="15370838"/>
                  <a:chExt cx="15352314" cy="9492975"/>
                </a:xfrm>
              </p:grpSpPr>
              <p:pic>
                <p:nvPicPr>
                  <p:cNvPr id="19" name="Grafik 51" descr="Ein Bild, das Screenshot, Grafiken, Design enthält.&#10;&#10;Automatisch generierte Beschreibung">
                    <a:extLst>
                      <a:ext uri="{FF2B5EF4-FFF2-40B4-BE49-F238E27FC236}">
                        <a16:creationId xmlns:a16="http://schemas.microsoft.com/office/drawing/2014/main" id="{08DD2BEF-AFD9-3BC9-7DDA-15B95914EAE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r="32677" b="8856"/>
                  <a:stretch/>
                </p:blipFill>
                <p:spPr>
                  <a:xfrm>
                    <a:off x="11949294" y="17104798"/>
                    <a:ext cx="8076643" cy="7759015"/>
                  </a:xfrm>
                  <a:prstGeom prst="rect">
                    <a:avLst/>
                  </a:prstGeom>
                </p:spPr>
              </p:pic>
              <p:grpSp>
                <p:nvGrpSpPr>
                  <p:cNvPr id="18" name="Group 17">
                    <a:extLst>
                      <a:ext uri="{FF2B5EF4-FFF2-40B4-BE49-F238E27FC236}">
                        <a16:creationId xmlns:a16="http://schemas.microsoft.com/office/drawing/2014/main" id="{B943AFF7-52F6-0B85-3F6F-1FFD849BCED4}"/>
                      </a:ext>
                    </a:extLst>
                  </p:cNvPr>
                  <p:cNvGrpSpPr/>
                  <p:nvPr/>
                </p:nvGrpSpPr>
                <p:grpSpPr>
                  <a:xfrm>
                    <a:off x="11789866" y="15370838"/>
                    <a:ext cx="15352314" cy="8872019"/>
                    <a:chOff x="11789866" y="15370838"/>
                    <a:chExt cx="15352314" cy="8872019"/>
                  </a:xfrm>
                </p:grpSpPr>
                <p:pic>
                  <p:nvPicPr>
                    <p:cNvPr id="1137" name="Grafik 1136" descr="Männlich mit einfarbiger Füllung">
                      <a:extLst>
                        <a:ext uri="{FF2B5EF4-FFF2-40B4-BE49-F238E27FC236}">
                          <a16:creationId xmlns:a16="http://schemas.microsoft.com/office/drawing/2014/main" id="{008EE922-AC03-FC0D-F997-11EFA3CFA0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6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8462217" y="18181797"/>
                      <a:ext cx="914401" cy="91440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139" name="Grafik 1138" descr="Weiblich mit einfarbiger Füllung">
                      <a:extLst>
                        <a:ext uri="{FF2B5EF4-FFF2-40B4-BE49-F238E27FC236}">
                          <a16:creationId xmlns:a16="http://schemas.microsoft.com/office/drawing/2014/main" id="{7CF11111-BECD-DFFE-C0A3-B4FAA6194D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8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6462782" y="17342113"/>
                      <a:ext cx="914401" cy="91440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45" name="Group 44">
                      <a:extLst>
                        <a:ext uri="{FF2B5EF4-FFF2-40B4-BE49-F238E27FC236}">
                          <a16:creationId xmlns:a16="http://schemas.microsoft.com/office/drawing/2014/main" id="{835F26E9-2216-BB5A-C272-EFC77891D16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789866" y="15370838"/>
                      <a:ext cx="15352314" cy="8872019"/>
                      <a:chOff x="12030496" y="15611468"/>
                      <a:chExt cx="15352314" cy="8872019"/>
                    </a:xfrm>
                  </p:grpSpPr>
                  <p:grpSp>
                    <p:nvGrpSpPr>
                      <p:cNvPr id="44" name="Group 43">
                        <a:extLst>
                          <a:ext uri="{FF2B5EF4-FFF2-40B4-BE49-F238E27FC236}">
                            <a16:creationId xmlns:a16="http://schemas.microsoft.com/office/drawing/2014/main" id="{E1CE591A-0F47-E66B-CF49-B4AD99EBD68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2030496" y="15717405"/>
                        <a:ext cx="15352314" cy="8766082"/>
                        <a:chOff x="12030496" y="15717405"/>
                        <a:chExt cx="15352314" cy="8766082"/>
                      </a:xfrm>
                    </p:grpSpPr>
                    <p:sp>
                      <p:nvSpPr>
                        <p:cNvPr id="241" name="Textfeld 240">
                          <a:extLst>
                            <a:ext uri="{FF2B5EF4-FFF2-40B4-BE49-F238E27FC236}">
                              <a16:creationId xmlns:a16="http://schemas.microsoft.com/office/drawing/2014/main" id="{447E3A66-41A7-7493-AD06-3083B52D49E4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3207380" y="15845914"/>
                          <a:ext cx="12917217" cy="1084985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>
                          <a:spAutoFit/>
                        </a:bodyPr>
                        <a:lstStyle/>
                        <a:p>
                          <a:pPr defTabSz="207112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r>
                            <a:rPr lang="en-US" sz="997" dirty="0">
                              <a:solidFill>
                                <a:srgbClr val="2A3F58"/>
                              </a:solidFill>
                              <a:latin typeface="Interstate-RegularCondensed"/>
                            </a:rPr>
                            <a:t>High sustained patient clearance 5 years after last PDT </a:t>
                          </a:r>
                          <a:r>
                            <a:rPr lang="en-US" sz="997" baseline="30000" dirty="0">
                              <a:solidFill>
                                <a:srgbClr val="2A3F58"/>
                              </a:solidFill>
                              <a:latin typeface="Interstate-RegularCondensed"/>
                            </a:rPr>
                            <a:t>4</a:t>
                          </a:r>
                          <a:r>
                            <a:rPr lang="en-US" sz="997" dirty="0">
                              <a:solidFill>
                                <a:srgbClr val="2A3F58"/>
                              </a:solidFill>
                              <a:latin typeface="Interstate-RegularCondensed"/>
                            </a:rPr>
                            <a:t> </a:t>
                          </a:r>
                        </a:p>
                      </p:txBody>
                    </p:sp>
                    <p:sp>
                      <p:nvSpPr>
                        <p:cNvPr id="232" name="Textfeld 231">
                          <a:extLst>
                            <a:ext uri="{FF2B5EF4-FFF2-40B4-BE49-F238E27FC236}">
                              <a16:creationId xmlns:a16="http://schemas.microsoft.com/office/drawing/2014/main" id="{67F74954-AD15-E140-B3AD-F3701B0B44ED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20061078" y="19501568"/>
                          <a:ext cx="7321732" cy="498191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>
                          <a:spAutoFit/>
                        </a:bodyPr>
                        <a:lstStyle/>
                        <a:p>
                          <a:pPr marL="17893" defTabSz="207112" fontAlgn="base">
                            <a:spcBef>
                              <a:spcPts val="75"/>
                            </a:spcBef>
                            <a:spcAft>
                              <a:spcPts val="75"/>
                            </a:spcAft>
                          </a:pPr>
                          <a:r>
                            <a:rPr lang="en-US" sz="800" dirty="0">
                              <a:solidFill>
                                <a:srgbClr val="000000"/>
                              </a:solidFill>
                              <a:latin typeface="+mj-lt"/>
                              <a:cs typeface="Arial" panose="020B0604020202020204" pitchFamily="34" charset="0"/>
                            </a:rPr>
                            <a:t>A higher proportion of male patients had recurrent lesions compared to female patients.</a:t>
                          </a:r>
                        </a:p>
                        <a:p>
                          <a:pPr marL="17893" defTabSz="207112" fontAlgn="base">
                            <a:spcBef>
                              <a:spcPts val="75"/>
                            </a:spcBef>
                            <a:spcAft>
                              <a:spcPts val="75"/>
                            </a:spcAft>
                          </a:pPr>
                          <a:endParaRPr lang="en-US" sz="800" dirty="0">
                            <a:solidFill>
                              <a:srgbClr val="000000"/>
                            </a:solidFill>
                            <a:latin typeface="+mj-lt"/>
                            <a:cs typeface="Arial" panose="020B0604020202020204" pitchFamily="34" charset="0"/>
                          </a:endParaRPr>
                        </a:p>
                        <a:p>
                          <a:pPr marL="17893" defTabSz="207112" fontAlgn="base">
                            <a:spcBef>
                              <a:spcPts val="75"/>
                            </a:spcBef>
                            <a:spcAft>
                              <a:spcPts val="75"/>
                            </a:spcAft>
                          </a:pPr>
                          <a:r>
                            <a:rPr lang="en-US" sz="800" dirty="0">
                              <a:solidFill>
                                <a:srgbClr val="000000"/>
                              </a:solidFill>
                              <a:latin typeface="+mj-lt"/>
                              <a:cs typeface="Arial" panose="020B0604020202020204" pitchFamily="34" charset="0"/>
                            </a:rPr>
                            <a:t>To be considered: Proportion of male patients in 10% ALA gel arm (68.7%) was higher than in the MAL cream arm (47.9%). </a:t>
                          </a:r>
                        </a:p>
                      </p:txBody>
                    </p:sp>
                    <p:sp>
                      <p:nvSpPr>
                        <p:cNvPr id="225" name="Ellipse 224">
                          <a:extLst>
                            <a:ext uri="{FF2B5EF4-FFF2-40B4-BE49-F238E27FC236}">
                              <a16:creationId xmlns:a16="http://schemas.microsoft.com/office/drawing/2014/main" id="{05C409F5-9397-2861-8677-55C4CAD233DD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>
                          <a:off x="12030496" y="15717405"/>
                          <a:ext cx="1260002" cy="1260002"/>
                        </a:xfrm>
                        <a:prstGeom prst="ellipse">
                          <a:avLst/>
                        </a:prstGeom>
                        <a:solidFill>
                          <a:schemeClr val="bg2"/>
                        </a:solidFill>
                        <a:ln w="190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rtlCol="0" anchor="ctr"/>
                        <a:lstStyle/>
                        <a:p>
                          <a:pPr algn="ctr" defTabSz="207112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de-DE" sz="1250" b="1" dirty="0">
                            <a:solidFill>
                              <a:srgbClr val="FFFFFF"/>
                            </a:solidFill>
                            <a:latin typeface="Interstate-LightCondensed" pitchFamily="2" charset="0"/>
                          </a:endParaRPr>
                        </a:p>
                      </p:txBody>
                    </p:sp>
                  </p:grpSp>
                  <p:sp>
                    <p:nvSpPr>
                      <p:cNvPr id="1145" name="Textfeld 1144">
                        <a:extLst>
                          <a:ext uri="{FF2B5EF4-FFF2-40B4-BE49-F238E27FC236}">
                            <a16:creationId xmlns:a16="http://schemas.microsoft.com/office/drawing/2014/main" id="{C579D897-9651-6197-475A-13099F8D490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2068894" y="15611468"/>
                        <a:ext cx="1183205" cy="1330966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pPr defTabSz="207112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r>
                          <a:rPr lang="de-DE" sz="1359" dirty="0">
                            <a:solidFill>
                              <a:srgbClr val="FFFFFF"/>
                            </a:solidFill>
                            <a:latin typeface="Interstate-RegularCondensed" panose="02000606030000020004" pitchFamily="2" charset="0"/>
                          </a:rPr>
                          <a:t>2</a:t>
                        </a:r>
                      </a:p>
                    </p:txBody>
                  </p:sp>
                </p:grpSp>
              </p:grpSp>
            </p:grpSp>
          </p:grpSp>
        </p:grpSp>
        <p:sp>
          <p:nvSpPr>
            <p:cNvPr id="1171" name="Textfeld 3">
              <a:extLst>
                <a:ext uri="{FF2B5EF4-FFF2-40B4-BE49-F238E27FC236}">
                  <a16:creationId xmlns:a16="http://schemas.microsoft.com/office/drawing/2014/main" id="{A6DD7219-6AA6-4CA3-9713-59C73FD39B95}"/>
                </a:ext>
              </a:extLst>
            </p:cNvPr>
            <p:cNvSpPr txBox="1"/>
            <p:nvPr/>
          </p:nvSpPr>
          <p:spPr>
            <a:xfrm rot="16200000">
              <a:off x="4041251" y="4698406"/>
              <a:ext cx="1757588" cy="1415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9144" rIns="0" bIns="9144" rtlCol="0">
              <a:spAutoFit/>
            </a:bodyPr>
            <a:lstStyle/>
            <a:p>
              <a:pPr algn="ctr"/>
              <a:r>
                <a:rPr lang="en-US" sz="8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Patients still cleared after 5 years (%)</a:t>
              </a:r>
            </a:p>
          </p:txBody>
        </p:sp>
        <p:grpSp>
          <p:nvGrpSpPr>
            <p:cNvPr id="1176" name="Group 1175">
              <a:extLst>
                <a:ext uri="{FF2B5EF4-FFF2-40B4-BE49-F238E27FC236}">
                  <a16:creationId xmlns:a16="http://schemas.microsoft.com/office/drawing/2014/main" id="{F8306B28-4E29-EC87-F77C-AC24322D2DE1}"/>
                </a:ext>
              </a:extLst>
            </p:cNvPr>
            <p:cNvGrpSpPr/>
            <p:nvPr/>
          </p:nvGrpSpPr>
          <p:grpSpPr>
            <a:xfrm>
              <a:off x="6603341" y="3990098"/>
              <a:ext cx="1025801" cy="398893"/>
              <a:chOff x="7101377" y="3943946"/>
              <a:chExt cx="1025801" cy="398893"/>
            </a:xfrm>
          </p:grpSpPr>
          <p:sp>
            <p:nvSpPr>
              <p:cNvPr id="1172" name="Textfeld 4">
                <a:extLst>
                  <a:ext uri="{FF2B5EF4-FFF2-40B4-BE49-F238E27FC236}">
                    <a16:creationId xmlns:a16="http://schemas.microsoft.com/office/drawing/2014/main" id="{9E60C23B-3C0A-FB63-C13E-66608DFD7105}"/>
                  </a:ext>
                </a:extLst>
              </p:cNvPr>
              <p:cNvSpPr txBox="1"/>
              <p:nvPr/>
            </p:nvSpPr>
            <p:spPr>
              <a:xfrm>
                <a:off x="7193627" y="3943946"/>
                <a:ext cx="887444" cy="22313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750"/>
                  </a:spcAft>
                </a:pPr>
                <a:r>
                  <a:rPr lang="de-DE" sz="850" dirty="0">
                    <a:solidFill>
                      <a:srgbClr val="000000"/>
                    </a:solidFill>
                    <a:latin typeface="+mj-lt"/>
                    <a:ea typeface="Calibri" panose="020F0502020204030204" pitchFamily="34" charset="0"/>
                    <a:cs typeface="Arial" panose="020B0604020202020204" pitchFamily="34" charset="0"/>
                  </a:rPr>
                  <a:t>10% ALA gel</a:t>
                </a:r>
              </a:p>
            </p:txBody>
          </p:sp>
          <p:sp>
            <p:nvSpPr>
              <p:cNvPr id="1173" name="Rectangle 1172">
                <a:extLst>
                  <a:ext uri="{FF2B5EF4-FFF2-40B4-BE49-F238E27FC236}">
                    <a16:creationId xmlns:a16="http://schemas.microsoft.com/office/drawing/2014/main" id="{131F9921-0DD5-CDD0-2025-823BBDAB033F}"/>
                  </a:ext>
                </a:extLst>
              </p:cNvPr>
              <p:cNvSpPr/>
              <p:nvPr/>
            </p:nvSpPr>
            <p:spPr bwMode="auto">
              <a:xfrm>
                <a:off x="7154741" y="4014945"/>
                <a:ext cx="182880" cy="91440"/>
              </a:xfrm>
              <a:prstGeom prst="rect">
                <a:avLst/>
              </a:prstGeom>
              <a:solidFill>
                <a:srgbClr val="5FC4E1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8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4" name="Textfeld 4">
                <a:extLst>
                  <a:ext uri="{FF2B5EF4-FFF2-40B4-BE49-F238E27FC236}">
                    <a16:creationId xmlns:a16="http://schemas.microsoft.com/office/drawing/2014/main" id="{9A1F0C44-432C-A0AB-BD6B-A85DAAB36336}"/>
                  </a:ext>
                </a:extLst>
              </p:cNvPr>
              <p:cNvSpPr txBox="1"/>
              <p:nvPr/>
            </p:nvSpPr>
            <p:spPr>
              <a:xfrm>
                <a:off x="7101377" y="4119701"/>
                <a:ext cx="1025801" cy="22313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750"/>
                  </a:spcAft>
                </a:pPr>
                <a:r>
                  <a:rPr lang="de-DE" sz="850" dirty="0">
                    <a:solidFill>
                      <a:srgbClr val="000000"/>
                    </a:solidFill>
                    <a:latin typeface="+mj-lt"/>
                    <a:ea typeface="Calibri" panose="020F0502020204030204" pitchFamily="34" charset="0"/>
                    <a:cs typeface="Arial" panose="020B0604020202020204" pitchFamily="34" charset="0"/>
                  </a:rPr>
                  <a:t>MAL cream</a:t>
                </a:r>
              </a:p>
            </p:txBody>
          </p:sp>
          <p:sp>
            <p:nvSpPr>
              <p:cNvPr id="1175" name="Rectangle 1174">
                <a:extLst>
                  <a:ext uri="{FF2B5EF4-FFF2-40B4-BE49-F238E27FC236}">
                    <a16:creationId xmlns:a16="http://schemas.microsoft.com/office/drawing/2014/main" id="{31F64BCB-ADB9-CAB1-2227-89D0EB26AE5B}"/>
                  </a:ext>
                </a:extLst>
              </p:cNvPr>
              <p:cNvSpPr/>
              <p:nvPr/>
            </p:nvSpPr>
            <p:spPr bwMode="auto">
              <a:xfrm>
                <a:off x="7154741" y="4191323"/>
                <a:ext cx="182880" cy="91440"/>
              </a:xfrm>
              <a:prstGeom prst="rect">
                <a:avLst/>
              </a:prstGeom>
              <a:solidFill>
                <a:srgbClr val="B0B0B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77" name="Textfeld 4">
              <a:extLst>
                <a:ext uri="{FF2B5EF4-FFF2-40B4-BE49-F238E27FC236}">
                  <a16:creationId xmlns:a16="http://schemas.microsoft.com/office/drawing/2014/main" id="{048D2826-16ED-FFC5-1302-3762C6DA66CD}"/>
                </a:ext>
              </a:extLst>
            </p:cNvPr>
            <p:cNvSpPr txBox="1"/>
            <p:nvPr/>
          </p:nvSpPr>
          <p:spPr>
            <a:xfrm>
              <a:off x="5149899" y="5499801"/>
              <a:ext cx="560461" cy="1231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 bIns="0">
              <a:spAutoFit/>
            </a:bodyPr>
            <a:lstStyle/>
            <a:p>
              <a:pPr algn="ctr">
                <a:spcAft>
                  <a:spcPts val="750"/>
                </a:spcAft>
              </a:pPr>
              <a:r>
                <a:rPr lang="de-DE" sz="8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overall</a:t>
              </a:r>
            </a:p>
          </p:txBody>
        </p:sp>
        <p:sp>
          <p:nvSpPr>
            <p:cNvPr id="1178" name="Textfeld 4">
              <a:extLst>
                <a:ext uri="{FF2B5EF4-FFF2-40B4-BE49-F238E27FC236}">
                  <a16:creationId xmlns:a16="http://schemas.microsoft.com/office/drawing/2014/main" id="{66C5658F-84B2-2E71-E1D5-20D4C7DF8DB6}"/>
                </a:ext>
              </a:extLst>
            </p:cNvPr>
            <p:cNvSpPr txBox="1"/>
            <p:nvPr/>
          </p:nvSpPr>
          <p:spPr>
            <a:xfrm>
              <a:off x="5599535" y="5499801"/>
              <a:ext cx="560461" cy="1231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 bIns="0">
              <a:spAutoFit/>
            </a:bodyPr>
            <a:lstStyle/>
            <a:p>
              <a:pPr algn="ctr">
                <a:spcAft>
                  <a:spcPts val="750"/>
                </a:spcAft>
              </a:pPr>
              <a:r>
                <a:rPr lang="de-DE" sz="8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female</a:t>
              </a:r>
            </a:p>
          </p:txBody>
        </p:sp>
        <p:sp>
          <p:nvSpPr>
            <p:cNvPr id="1179" name="Textfeld 4">
              <a:extLst>
                <a:ext uri="{FF2B5EF4-FFF2-40B4-BE49-F238E27FC236}">
                  <a16:creationId xmlns:a16="http://schemas.microsoft.com/office/drawing/2014/main" id="{6C33FF04-8EE0-7A8D-E28F-869E00B3B953}"/>
                </a:ext>
              </a:extLst>
            </p:cNvPr>
            <p:cNvSpPr txBox="1"/>
            <p:nvPr/>
          </p:nvSpPr>
          <p:spPr>
            <a:xfrm>
              <a:off x="6049468" y="5499801"/>
              <a:ext cx="560461" cy="1231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 bIns="0">
              <a:spAutoFit/>
            </a:bodyPr>
            <a:lstStyle/>
            <a:p>
              <a:pPr algn="ctr">
                <a:spcAft>
                  <a:spcPts val="750"/>
                </a:spcAft>
              </a:pPr>
              <a:r>
                <a:rPr lang="de-DE" sz="800" dirty="0">
                  <a:solidFill>
                    <a:srgbClr val="000000"/>
                  </a:solidFill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male</a:t>
              </a:r>
            </a:p>
          </p:txBody>
        </p:sp>
      </p:grpSp>
      <p:grpSp>
        <p:nvGrpSpPr>
          <p:cNvPr id="1188" name="Group 1187">
            <a:extLst>
              <a:ext uri="{FF2B5EF4-FFF2-40B4-BE49-F238E27FC236}">
                <a16:creationId xmlns:a16="http://schemas.microsoft.com/office/drawing/2014/main" id="{F9F773A0-1AA2-A85D-BDF8-6444C028ACD9}"/>
              </a:ext>
            </a:extLst>
          </p:cNvPr>
          <p:cNvGrpSpPr/>
          <p:nvPr/>
        </p:nvGrpSpPr>
        <p:grpSpPr>
          <a:xfrm>
            <a:off x="4682293" y="1419320"/>
            <a:ext cx="3559328" cy="2122796"/>
            <a:chOff x="4682293" y="1419320"/>
            <a:chExt cx="3559328" cy="2122796"/>
          </a:xfrm>
        </p:grpSpPr>
        <p:grpSp>
          <p:nvGrpSpPr>
            <p:cNvPr id="1164" name="Group 1163">
              <a:extLst>
                <a:ext uri="{FF2B5EF4-FFF2-40B4-BE49-F238E27FC236}">
                  <a16:creationId xmlns:a16="http://schemas.microsoft.com/office/drawing/2014/main" id="{6C17FD65-12B7-4971-97B1-6EEE8BDABF10}"/>
                </a:ext>
              </a:extLst>
            </p:cNvPr>
            <p:cNvGrpSpPr/>
            <p:nvPr/>
          </p:nvGrpSpPr>
          <p:grpSpPr>
            <a:xfrm>
              <a:off x="4682293" y="1419320"/>
              <a:ext cx="3559328" cy="2122796"/>
              <a:chOff x="4682293" y="1419320"/>
              <a:chExt cx="3559328" cy="2122796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251F6C1C-D2AB-1224-CB5D-DA8BCB774563}"/>
                  </a:ext>
                </a:extLst>
              </p:cNvPr>
              <p:cNvGrpSpPr/>
              <p:nvPr/>
            </p:nvGrpSpPr>
            <p:grpSpPr>
              <a:xfrm>
                <a:off x="4708258" y="1419320"/>
                <a:ext cx="3533363" cy="2122796"/>
                <a:chOff x="12002675" y="6037340"/>
                <a:chExt cx="15598324" cy="9371261"/>
              </a:xfrm>
            </p:grpSpPr>
            <p:sp>
              <p:nvSpPr>
                <p:cNvPr id="235" name="Rechteck: abgerundete Ecken 234">
                  <a:extLst>
                    <a:ext uri="{FF2B5EF4-FFF2-40B4-BE49-F238E27FC236}">
                      <a16:creationId xmlns:a16="http://schemas.microsoft.com/office/drawing/2014/main" id="{E0F24188-27FA-0B5A-12D7-BAEA69E7E162}"/>
                    </a:ext>
                  </a:extLst>
                </p:cNvPr>
                <p:cNvSpPr/>
                <p:nvPr/>
              </p:nvSpPr>
              <p:spPr bwMode="auto">
                <a:xfrm>
                  <a:off x="12061195" y="6071173"/>
                  <a:ext cx="15539804" cy="9265478"/>
                </a:xfrm>
                <a:prstGeom prst="roundRect">
                  <a:avLst>
                    <a:gd name="adj" fmla="val 6490"/>
                  </a:avLst>
                </a:prstGeom>
                <a:noFill/>
                <a:ln w="28575" cap="flat" cmpd="sng" algn="ctr">
                  <a:solidFill>
                    <a:schemeClr val="accent3">
                      <a:lumMod val="20000"/>
                      <a:lumOff val="8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20711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250">
                    <a:solidFill>
                      <a:srgbClr val="0C2340"/>
                    </a:solidFill>
                    <a:latin typeface="Interstate-LightCondensed" pitchFamily="2" charset="0"/>
                  </a:endParaRPr>
                </a:p>
              </p:txBody>
            </p:sp>
            <p:sp>
              <p:nvSpPr>
                <p:cNvPr id="1123" name="Textfeld 1122">
                  <a:extLst>
                    <a:ext uri="{FF2B5EF4-FFF2-40B4-BE49-F238E27FC236}">
                      <a16:creationId xmlns:a16="http://schemas.microsoft.com/office/drawing/2014/main" id="{F1499004-6273-C1C2-ECD3-E0859A7E91F7}"/>
                    </a:ext>
                  </a:extLst>
                </p:cNvPr>
                <p:cNvSpPr txBox="1"/>
                <p:nvPr/>
              </p:nvSpPr>
              <p:spPr>
                <a:xfrm>
                  <a:off x="12197614" y="13914026"/>
                  <a:ext cx="15398374" cy="149457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defTabSz="20711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800" dirty="0">
                      <a:solidFill>
                        <a:srgbClr val="000710"/>
                      </a:solidFill>
                      <a:latin typeface="+mj-lt"/>
                      <a:cs typeface="Arial" panose="020B0604020202020204" pitchFamily="34" charset="0"/>
                    </a:rPr>
                    <a:t>Tendency of 10% ALA gel to be more effective for </a:t>
                  </a:r>
                  <a:r>
                    <a:rPr lang="en-US" sz="800" dirty="0" err="1">
                      <a:solidFill>
                        <a:srgbClr val="000710"/>
                      </a:solidFill>
                      <a:latin typeface="+mj-lt"/>
                      <a:cs typeface="Arial" panose="020B0604020202020204" pitchFamily="34" charset="0"/>
                    </a:rPr>
                    <a:t>nBCC</a:t>
                  </a:r>
                  <a:r>
                    <a:rPr lang="en-US" sz="800" dirty="0">
                      <a:solidFill>
                        <a:srgbClr val="000710"/>
                      </a:solidFill>
                      <a:latin typeface="+mj-lt"/>
                      <a:cs typeface="Arial" panose="020B0604020202020204" pitchFamily="34" charset="0"/>
                    </a:rPr>
                    <a:t> compared to MAL cream. Possibly due to better skin penetration? </a:t>
                  </a:r>
                  <a:r>
                    <a:rPr lang="en-US" sz="800" baseline="30000" dirty="0">
                      <a:solidFill>
                        <a:srgbClr val="000710"/>
                      </a:solidFill>
                      <a:latin typeface="+mj-lt"/>
                      <a:cs typeface="Arial" panose="020B0604020202020204" pitchFamily="34" charset="0"/>
                    </a:rPr>
                    <a:t>2,3</a:t>
                  </a:r>
                  <a:endParaRPr lang="en-GB" sz="800" dirty="0">
                    <a:solidFill>
                      <a:srgbClr val="000710"/>
                    </a:solidFill>
                    <a:highlight>
                      <a:srgbClr val="FFFF00"/>
                    </a:highlight>
                    <a:latin typeface="+mj-lt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DA03BAE1-11A1-4B94-8271-10242ACDA289}"/>
                    </a:ext>
                  </a:extLst>
                </p:cNvPr>
                <p:cNvGrpSpPr/>
                <p:nvPr/>
              </p:nvGrpSpPr>
              <p:grpSpPr>
                <a:xfrm>
                  <a:off x="12002675" y="6037340"/>
                  <a:ext cx="15573169" cy="1349773"/>
                  <a:chOff x="12002675" y="5612799"/>
                  <a:chExt cx="15573169" cy="1349773"/>
                </a:xfrm>
              </p:grpSpPr>
              <p:sp>
                <p:nvSpPr>
                  <p:cNvPr id="236" name="Rechteck: abgerundete Ecken 235">
                    <a:extLst>
                      <a:ext uri="{FF2B5EF4-FFF2-40B4-BE49-F238E27FC236}">
                        <a16:creationId xmlns:a16="http://schemas.microsoft.com/office/drawing/2014/main" id="{364C5BFC-67D1-3886-3046-64DD98CEB4D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2006485" y="5612799"/>
                    <a:ext cx="15569359" cy="1260000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5FC4E1"/>
                  </a:solidFill>
                  <a:ln w="190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rtlCol="0" anchor="ctr"/>
                  <a:lstStyle/>
                  <a:p>
                    <a:pPr algn="ctr" defTabSz="20711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de-DE" sz="1250" dirty="0">
                      <a:solidFill>
                        <a:srgbClr val="0C2340"/>
                      </a:solidFill>
                      <a:latin typeface="Interstate-LightCondensed" pitchFamily="2" charset="0"/>
                    </a:endParaRPr>
                  </a:p>
                </p:txBody>
              </p:sp>
              <p:sp>
                <p:nvSpPr>
                  <p:cNvPr id="237" name="Textfeld 236">
                    <a:extLst>
                      <a:ext uri="{FF2B5EF4-FFF2-40B4-BE49-F238E27FC236}">
                        <a16:creationId xmlns:a16="http://schemas.microsoft.com/office/drawing/2014/main" id="{B646C722-F5C2-D13E-C74C-FF4C3BFFBA82}"/>
                      </a:ext>
                    </a:extLst>
                  </p:cNvPr>
                  <p:cNvSpPr txBox="1"/>
                  <p:nvPr/>
                </p:nvSpPr>
                <p:spPr>
                  <a:xfrm>
                    <a:off x="13165229" y="5739890"/>
                    <a:ext cx="12474472" cy="1084984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defTabSz="20711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997" dirty="0">
                        <a:solidFill>
                          <a:srgbClr val="2A3F58"/>
                        </a:solidFill>
                        <a:latin typeface="Interstate-RegularCondensed"/>
                      </a:rPr>
                      <a:t>High patient clearance rates 12 weeks after last PDT </a:t>
                    </a:r>
                    <a:r>
                      <a:rPr lang="en-US" sz="997" baseline="30000" dirty="0">
                        <a:solidFill>
                          <a:srgbClr val="2A3F58"/>
                        </a:solidFill>
                        <a:latin typeface="Interstate-RegularCondensed"/>
                      </a:rPr>
                      <a:t>1, 2</a:t>
                    </a:r>
                  </a:p>
                </p:txBody>
              </p:sp>
              <p:sp>
                <p:nvSpPr>
                  <p:cNvPr id="25" name="Ellipse 24">
                    <a:extLst>
                      <a:ext uri="{FF2B5EF4-FFF2-40B4-BE49-F238E27FC236}">
                        <a16:creationId xmlns:a16="http://schemas.microsoft.com/office/drawing/2014/main" id="{5E1653B4-9553-F5D2-E6FC-3CCC48985C7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2002675" y="5663968"/>
                    <a:ext cx="1260001" cy="1259998"/>
                  </a:xfrm>
                  <a:prstGeom prst="ellipse">
                    <a:avLst/>
                  </a:prstGeom>
                  <a:solidFill>
                    <a:schemeClr val="bg2"/>
                  </a:solidFill>
                  <a:ln w="190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rtlCol="0" anchor="ctr"/>
                  <a:lstStyle/>
                  <a:p>
                    <a:pPr algn="ctr" defTabSz="20711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de-DE" sz="1250" b="1" dirty="0">
                      <a:solidFill>
                        <a:srgbClr val="FFFFFF"/>
                      </a:solidFill>
                      <a:latin typeface="Interstate-LightCondensed" pitchFamily="2" charset="0"/>
                    </a:endParaRPr>
                  </a:p>
                </p:txBody>
              </p:sp>
              <p:sp>
                <p:nvSpPr>
                  <p:cNvPr id="1142" name="Textfeld 1141">
                    <a:extLst>
                      <a:ext uri="{FF2B5EF4-FFF2-40B4-BE49-F238E27FC236}">
                        <a16:creationId xmlns:a16="http://schemas.microsoft.com/office/drawing/2014/main" id="{B70CEC2D-5389-3E01-E76B-7AB1976EB717}"/>
                      </a:ext>
                    </a:extLst>
                  </p:cNvPr>
                  <p:cNvSpPr txBox="1"/>
                  <p:nvPr/>
                </p:nvSpPr>
                <p:spPr>
                  <a:xfrm>
                    <a:off x="12117728" y="5631605"/>
                    <a:ext cx="1027521" cy="133096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defTabSz="20711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de-DE" sz="1359" dirty="0">
                        <a:solidFill>
                          <a:srgbClr val="FFFFFF"/>
                        </a:solidFill>
                        <a:latin typeface="Interstate-RegularCondensed" panose="02000606030000020004" pitchFamily="2" charset="0"/>
                      </a:rPr>
                      <a:t>1</a:t>
                    </a:r>
                  </a:p>
                </p:txBody>
              </p:sp>
            </p:grpSp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B98ADEFD-F352-2BC8-E2B3-0834BC173151}"/>
                  </a:ext>
                </a:extLst>
              </p:cNvPr>
              <p:cNvGrpSpPr/>
              <p:nvPr/>
            </p:nvGrpSpPr>
            <p:grpSpPr>
              <a:xfrm>
                <a:off x="4682293" y="1807362"/>
                <a:ext cx="3534367" cy="1415067"/>
                <a:chOff x="4682293" y="1807362"/>
                <a:chExt cx="3534367" cy="1415067"/>
              </a:xfrm>
            </p:grpSpPr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F7332816-105C-60C5-062C-91493BE88119}"/>
                    </a:ext>
                  </a:extLst>
                </p:cNvPr>
                <p:cNvGrpSpPr/>
                <p:nvPr/>
              </p:nvGrpSpPr>
              <p:grpSpPr>
                <a:xfrm>
                  <a:off x="4682293" y="1807362"/>
                  <a:ext cx="3534367" cy="1415067"/>
                  <a:chOff x="4682293" y="1807362"/>
                  <a:chExt cx="3534367" cy="1415067"/>
                </a:xfrm>
              </p:grpSpPr>
              <p:pic>
                <p:nvPicPr>
                  <p:cNvPr id="69" name="Picture 68">
                    <a:extLst>
                      <a:ext uri="{FF2B5EF4-FFF2-40B4-BE49-F238E27FC236}">
                        <a16:creationId xmlns:a16="http://schemas.microsoft.com/office/drawing/2014/main" id="{31CFDDCA-D93B-7455-664C-972DBCBD283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9">
                    <a:extLst>
                      <a:ext uri="{BEBA8EAE-BF5A-486C-A8C5-ECC9F3942E4B}">
                        <a14:imgProps xmlns:a14="http://schemas.microsoft.com/office/drawing/2010/main">
                          <a14:imgLayer r:embed="rId20">
                            <a14:imgEffect>
                              <a14:sharpenSoften amount="25000"/>
                            </a14:imgEffect>
                          </a14:imgLayer>
                        </a14:imgProps>
                      </a:ext>
                    </a:extLst>
                  </a:blip>
                  <a:srcRect l="28155" t="11198"/>
                  <a:stretch/>
                </p:blipFill>
                <p:spPr>
                  <a:xfrm>
                    <a:off x="5735380" y="2006519"/>
                    <a:ext cx="2481280" cy="1215910"/>
                  </a:xfrm>
                  <a:prstGeom prst="rect">
                    <a:avLst/>
                  </a:prstGeom>
                </p:spPr>
              </p:pic>
              <p:sp>
                <p:nvSpPr>
                  <p:cNvPr id="70" name="Textfeld 45">
                    <a:extLst>
                      <a:ext uri="{FF2B5EF4-FFF2-40B4-BE49-F238E27FC236}">
                        <a16:creationId xmlns:a16="http://schemas.microsoft.com/office/drawing/2014/main" id="{BAC57257-E96C-8701-D367-2ED03C34E70C}"/>
                      </a:ext>
                    </a:extLst>
                  </p:cNvPr>
                  <p:cNvSpPr txBox="1"/>
                  <p:nvPr/>
                </p:nvSpPr>
                <p:spPr>
                  <a:xfrm>
                    <a:off x="4802005" y="2016668"/>
                    <a:ext cx="1016951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US" sz="800" dirty="0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rPr>
                      <a:t>Patient complete clearance rate</a:t>
                    </a:r>
                  </a:p>
                </p:txBody>
              </p:sp>
              <p:sp>
                <p:nvSpPr>
                  <p:cNvPr id="71" name="Textfeld 80">
                    <a:extLst>
                      <a:ext uri="{FF2B5EF4-FFF2-40B4-BE49-F238E27FC236}">
                        <a16:creationId xmlns:a16="http://schemas.microsoft.com/office/drawing/2014/main" id="{B4C8EAE5-F97F-FE6F-4165-22BCBC1647A0}"/>
                      </a:ext>
                    </a:extLst>
                  </p:cNvPr>
                  <p:cNvSpPr txBox="1"/>
                  <p:nvPr/>
                </p:nvSpPr>
                <p:spPr>
                  <a:xfrm>
                    <a:off x="4682293" y="2452044"/>
                    <a:ext cx="1149484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US" sz="800" dirty="0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rPr>
                      <a:t>Clearance rate of superficial BCC (</a:t>
                    </a:r>
                    <a:r>
                      <a:rPr lang="en-US" sz="800" dirty="0" err="1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rPr>
                      <a:t>sBCC</a:t>
                    </a:r>
                    <a:r>
                      <a:rPr lang="en-US" sz="800" dirty="0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rPr>
                      <a:t>)</a:t>
                    </a:r>
                  </a:p>
                </p:txBody>
              </p:sp>
              <p:sp>
                <p:nvSpPr>
                  <p:cNvPr id="72" name="Textfeld 81">
                    <a:extLst>
                      <a:ext uri="{FF2B5EF4-FFF2-40B4-BE49-F238E27FC236}">
                        <a16:creationId xmlns:a16="http://schemas.microsoft.com/office/drawing/2014/main" id="{CC30DC60-FF83-6600-83DC-F964A38A4FB3}"/>
                      </a:ext>
                    </a:extLst>
                  </p:cNvPr>
                  <p:cNvSpPr txBox="1"/>
                  <p:nvPr/>
                </p:nvSpPr>
                <p:spPr>
                  <a:xfrm>
                    <a:off x="4753667" y="2821360"/>
                    <a:ext cx="1073675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US" sz="800" dirty="0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rPr>
                      <a:t>Clearance rate of nodular BCC (</a:t>
                    </a:r>
                    <a:r>
                      <a:rPr lang="en-US" sz="800" dirty="0" err="1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rPr>
                      <a:t>nBCC</a:t>
                    </a:r>
                    <a:r>
                      <a:rPr lang="en-US" sz="800" dirty="0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rPr>
                      <a:t>)</a:t>
                    </a:r>
                  </a:p>
                </p:txBody>
              </p:sp>
              <p:sp>
                <p:nvSpPr>
                  <p:cNvPr id="73" name="Textfeld 46">
                    <a:extLst>
                      <a:ext uri="{FF2B5EF4-FFF2-40B4-BE49-F238E27FC236}">
                        <a16:creationId xmlns:a16="http://schemas.microsoft.com/office/drawing/2014/main" id="{19F913CC-DFF0-7568-C7F1-4E14B0405D7B}"/>
                      </a:ext>
                    </a:extLst>
                  </p:cNvPr>
                  <p:cNvSpPr txBox="1"/>
                  <p:nvPr/>
                </p:nvSpPr>
                <p:spPr>
                  <a:xfrm>
                    <a:off x="5982455" y="1807362"/>
                    <a:ext cx="776175" cy="24622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000" dirty="0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rPr>
                      <a:t>10% ALA gel</a:t>
                    </a:r>
                  </a:p>
                </p:txBody>
              </p:sp>
            </p:grpSp>
            <p:sp>
              <p:nvSpPr>
                <p:cNvPr id="74" name="Textfeld 47">
                  <a:extLst>
                    <a:ext uri="{FF2B5EF4-FFF2-40B4-BE49-F238E27FC236}">
                      <a16:creationId xmlns:a16="http://schemas.microsoft.com/office/drawing/2014/main" id="{600DEFD4-6444-6642-09E0-A0D4C110E435}"/>
                    </a:ext>
                  </a:extLst>
                </p:cNvPr>
                <p:cNvSpPr txBox="1"/>
                <p:nvPr/>
              </p:nvSpPr>
              <p:spPr>
                <a:xfrm>
                  <a:off x="7279045" y="1823181"/>
                  <a:ext cx="704039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>
                      <a:solidFill>
                        <a:srgbClr val="000000"/>
                      </a:solidFill>
                      <a:latin typeface="+mj-lt"/>
                      <a:cs typeface="Arial" panose="020B0604020202020204" pitchFamily="34" charset="0"/>
                    </a:rPr>
                    <a:t>MAL cream</a:t>
                  </a:r>
                </a:p>
              </p:txBody>
            </p:sp>
          </p:grpSp>
        </p:grpSp>
        <p:sp>
          <p:nvSpPr>
            <p:cNvPr id="1182" name="Textfeld 46">
              <a:extLst>
                <a:ext uri="{FF2B5EF4-FFF2-40B4-BE49-F238E27FC236}">
                  <a16:creationId xmlns:a16="http://schemas.microsoft.com/office/drawing/2014/main" id="{128E0287-A801-E071-B707-C312E8532508}"/>
                </a:ext>
              </a:extLst>
            </p:cNvPr>
            <p:cNvSpPr txBox="1"/>
            <p:nvPr/>
          </p:nvSpPr>
          <p:spPr>
            <a:xfrm>
              <a:off x="5813549" y="2277970"/>
              <a:ext cx="550814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bIns="0" rtlCol="0">
              <a:spAutoFit/>
            </a:bodyPr>
            <a:lstStyle/>
            <a:p>
              <a:r>
                <a:rPr lang="de-DE" sz="1000" dirty="0">
                  <a:solidFill>
                    <a:srgbClr val="61C9E8"/>
                  </a:solidFill>
                  <a:latin typeface="+mj-lt"/>
                  <a:cs typeface="Arial" panose="020B0604020202020204" pitchFamily="34" charset="0"/>
                </a:rPr>
                <a:t>93.4%</a:t>
              </a:r>
            </a:p>
          </p:txBody>
        </p:sp>
        <p:sp>
          <p:nvSpPr>
            <p:cNvPr id="1183" name="Textfeld 46">
              <a:extLst>
                <a:ext uri="{FF2B5EF4-FFF2-40B4-BE49-F238E27FC236}">
                  <a16:creationId xmlns:a16="http://schemas.microsoft.com/office/drawing/2014/main" id="{1114FCFF-6228-EB55-0668-7EF6AF70714B}"/>
                </a:ext>
              </a:extLst>
            </p:cNvPr>
            <p:cNvSpPr txBox="1"/>
            <p:nvPr/>
          </p:nvSpPr>
          <p:spPr>
            <a:xfrm>
              <a:off x="5813549" y="2640799"/>
              <a:ext cx="550814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bIns="0" rtlCol="0">
              <a:spAutoFit/>
            </a:bodyPr>
            <a:lstStyle/>
            <a:p>
              <a:r>
                <a:rPr lang="de-DE" sz="1000" dirty="0">
                  <a:solidFill>
                    <a:srgbClr val="61C9E8"/>
                  </a:solidFill>
                  <a:latin typeface="+mj-lt"/>
                  <a:cs typeface="Arial" panose="020B0604020202020204" pitchFamily="34" charset="0"/>
                </a:rPr>
                <a:t>94.7%</a:t>
              </a:r>
            </a:p>
          </p:txBody>
        </p:sp>
        <p:sp>
          <p:nvSpPr>
            <p:cNvPr id="1184" name="Textfeld 46">
              <a:extLst>
                <a:ext uri="{FF2B5EF4-FFF2-40B4-BE49-F238E27FC236}">
                  <a16:creationId xmlns:a16="http://schemas.microsoft.com/office/drawing/2014/main" id="{82BFB1FC-2595-E695-3E61-FB17EFEC31A1}"/>
                </a:ext>
              </a:extLst>
            </p:cNvPr>
            <p:cNvSpPr txBox="1"/>
            <p:nvPr/>
          </p:nvSpPr>
          <p:spPr>
            <a:xfrm>
              <a:off x="5813549" y="2992416"/>
              <a:ext cx="550814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bIns="0" rtlCol="0">
              <a:spAutoFit/>
            </a:bodyPr>
            <a:lstStyle/>
            <a:p>
              <a:r>
                <a:rPr lang="de-DE" sz="1000" dirty="0">
                  <a:solidFill>
                    <a:srgbClr val="61C9E8"/>
                  </a:solidFill>
                  <a:latin typeface="+mj-lt"/>
                  <a:cs typeface="Arial" panose="020B0604020202020204" pitchFamily="34" charset="0"/>
                </a:rPr>
                <a:t>85.7%</a:t>
              </a:r>
            </a:p>
          </p:txBody>
        </p:sp>
        <p:sp>
          <p:nvSpPr>
            <p:cNvPr id="1185" name="Textfeld 46">
              <a:extLst>
                <a:ext uri="{FF2B5EF4-FFF2-40B4-BE49-F238E27FC236}">
                  <a16:creationId xmlns:a16="http://schemas.microsoft.com/office/drawing/2014/main" id="{8AAAF16F-823F-8773-716A-694F43450C90}"/>
                </a:ext>
              </a:extLst>
            </p:cNvPr>
            <p:cNvSpPr txBox="1"/>
            <p:nvPr/>
          </p:nvSpPr>
          <p:spPr>
            <a:xfrm>
              <a:off x="7075406" y="2996624"/>
              <a:ext cx="550814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bIns="0" rtlCol="0">
              <a:spAutoFit/>
            </a:bodyPr>
            <a:lstStyle/>
            <a:p>
              <a:r>
                <a:rPr lang="de-DE" sz="1000" dirty="0">
                  <a:solidFill>
                    <a:srgbClr val="7F7F7F"/>
                  </a:solidFill>
                  <a:latin typeface="+mj-lt"/>
                  <a:cs typeface="Arial" panose="020B0604020202020204" pitchFamily="34" charset="0"/>
                </a:rPr>
                <a:t>76.2%</a:t>
              </a:r>
            </a:p>
          </p:txBody>
        </p:sp>
        <p:sp>
          <p:nvSpPr>
            <p:cNvPr id="1186" name="Textfeld 46">
              <a:extLst>
                <a:ext uri="{FF2B5EF4-FFF2-40B4-BE49-F238E27FC236}">
                  <a16:creationId xmlns:a16="http://schemas.microsoft.com/office/drawing/2014/main" id="{3DBAD21E-4AC9-6A81-9F58-6C84A81AB0B7}"/>
                </a:ext>
              </a:extLst>
            </p:cNvPr>
            <p:cNvSpPr txBox="1"/>
            <p:nvPr/>
          </p:nvSpPr>
          <p:spPr>
            <a:xfrm>
              <a:off x="7075406" y="2635478"/>
              <a:ext cx="550814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bIns="0" rtlCol="0">
              <a:spAutoFit/>
            </a:bodyPr>
            <a:lstStyle/>
            <a:p>
              <a:r>
                <a:rPr lang="de-DE" sz="1000" dirty="0">
                  <a:solidFill>
                    <a:srgbClr val="7F7F7F"/>
                  </a:solidFill>
                  <a:latin typeface="+mj-lt"/>
                  <a:cs typeface="Arial" panose="020B0604020202020204" pitchFamily="34" charset="0"/>
                </a:rPr>
                <a:t>96.4%</a:t>
              </a:r>
            </a:p>
          </p:txBody>
        </p:sp>
        <p:sp>
          <p:nvSpPr>
            <p:cNvPr id="1187" name="Textfeld 46">
              <a:extLst>
                <a:ext uri="{FF2B5EF4-FFF2-40B4-BE49-F238E27FC236}">
                  <a16:creationId xmlns:a16="http://schemas.microsoft.com/office/drawing/2014/main" id="{01DA2F97-AE06-A086-F833-ED673E0A2C49}"/>
                </a:ext>
              </a:extLst>
            </p:cNvPr>
            <p:cNvSpPr txBox="1"/>
            <p:nvPr/>
          </p:nvSpPr>
          <p:spPr>
            <a:xfrm>
              <a:off x="7075406" y="2282435"/>
              <a:ext cx="550814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bIns="0" rtlCol="0">
              <a:spAutoFit/>
            </a:bodyPr>
            <a:lstStyle/>
            <a:p>
              <a:r>
                <a:rPr lang="de-DE" sz="1000" dirty="0">
                  <a:solidFill>
                    <a:srgbClr val="7F7F7F"/>
                  </a:solidFill>
                  <a:latin typeface="+mj-lt"/>
                  <a:cs typeface="Arial" panose="020B0604020202020204" pitchFamily="34" charset="0"/>
                </a:rPr>
                <a:t>91.8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6327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Vz4djwQIeNndXjkRXl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NLMa1QRmqfczb0XY.8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NLMa1QRmqfczb0XY.8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NLMa1QRmqfczb0XY.8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NLMa1QRmqfczb0XY.8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Q3fpaDQnmiYPhdWmSPA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P2iNPkRpiEtDfzesig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Vz4djwQIeNndXjkRXl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Vz4djwQIeNndXjkRXl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Vz4djwQIeNndXjkRXl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iofrontera 16x9">
  <a:themeElements>
    <a:clrScheme name="Biofrontera">
      <a:dk1>
        <a:srgbClr val="0C2340"/>
      </a:dk1>
      <a:lt1>
        <a:srgbClr val="FFFFFF"/>
      </a:lt1>
      <a:dk2>
        <a:srgbClr val="C6E8FB"/>
      </a:dk2>
      <a:lt2>
        <a:srgbClr val="0C2340"/>
      </a:lt2>
      <a:accent1>
        <a:srgbClr val="0C2340"/>
      </a:accent1>
      <a:accent2>
        <a:srgbClr val="EB691C"/>
      </a:accent2>
      <a:accent3>
        <a:srgbClr val="5FC4E1"/>
      </a:accent3>
      <a:accent4>
        <a:srgbClr val="85B83C"/>
      </a:accent4>
      <a:accent5>
        <a:srgbClr val="6D6D6D"/>
      </a:accent5>
      <a:accent6>
        <a:srgbClr val="B0B0B0"/>
      </a:accent6>
      <a:hlink>
        <a:srgbClr val="EB691C"/>
      </a:hlink>
      <a:folHlink>
        <a:srgbClr val="EB691C"/>
      </a:folHlink>
    </a:clrScheme>
    <a:fontScheme name="Biofrontera">
      <a:majorFont>
        <a:latin typeface="Interstate-RegularCondensed"/>
        <a:ea typeface=""/>
        <a:cs typeface=""/>
      </a:majorFont>
      <a:minorFont>
        <a:latin typeface="Interstate-Light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</a:spDef>
    <a:lnDef>
      <a:spPr bwMode="auto">
        <a:solidFill>
          <a:schemeClr val="accent1"/>
        </a:solidFill>
        <a:ln w="107950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90514_aha_Master_Biofrontera_AG.potx" id="{49EA7647-452C-48EE-B65E-5B74AE07E7B3}" vid="{1D2CF22B-2609-46F8-963A-08CC8BE9337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0</TotalTime>
  <Words>767</Words>
  <Application>Microsoft Office PowerPoint</Application>
  <PresentationFormat>Widescreen</PresentationFormat>
  <Paragraphs>7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Interstate-BoldCondensed</vt:lpstr>
      <vt:lpstr>Interstate-LightCondensed</vt:lpstr>
      <vt:lpstr>Interstate-RegularCondensed</vt:lpstr>
      <vt:lpstr>Times</vt:lpstr>
      <vt:lpstr>Wingdings</vt:lpstr>
      <vt:lpstr>Biofrontera 16x9</vt:lpstr>
      <vt:lpstr>think-cell Foli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una Mikati</dc:creator>
  <cp:lastModifiedBy>Mouna Mikati</cp:lastModifiedBy>
  <cp:revision>2</cp:revision>
  <dcterms:created xsi:type="dcterms:W3CDTF">2023-09-21T17:04:46Z</dcterms:created>
  <dcterms:modified xsi:type="dcterms:W3CDTF">2023-09-22T18:20:18Z</dcterms:modified>
</cp:coreProperties>
</file>